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4"/>
  </p:notesMasterIdLst>
  <p:handoutMasterIdLst>
    <p:handoutMasterId r:id="rId25"/>
  </p:handoutMasterIdLst>
  <p:sldIdLst>
    <p:sldId id="265" r:id="rId5"/>
    <p:sldId id="259" r:id="rId6"/>
    <p:sldId id="308" r:id="rId7"/>
    <p:sldId id="306" r:id="rId8"/>
    <p:sldId id="325" r:id="rId9"/>
    <p:sldId id="323" r:id="rId10"/>
    <p:sldId id="309" r:id="rId11"/>
    <p:sldId id="310" r:id="rId12"/>
    <p:sldId id="311" r:id="rId13"/>
    <p:sldId id="307" r:id="rId14"/>
    <p:sldId id="313" r:id="rId15"/>
    <p:sldId id="314" r:id="rId16"/>
    <p:sldId id="316" r:id="rId17"/>
    <p:sldId id="317" r:id="rId18"/>
    <p:sldId id="318" r:id="rId19"/>
    <p:sldId id="319" r:id="rId20"/>
    <p:sldId id="320" r:id="rId21"/>
    <p:sldId id="322" r:id="rId22"/>
    <p:sldId id="29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2" clrIdx="0"/>
  <p:cmAuthor id="1" name="Uma M Ponniamman" initials="UMP" lastIdx="2" clrIdx="1"/>
  <p:cmAuthor id="2" name="Srivastava, Vaishali" initials="SV" lastIdx="1" clrIdx="2">
    <p:extLst>
      <p:ext uri="{19B8F6BF-5375-455C-9EA6-DF929625EA0E}">
        <p15:presenceInfo xmlns:p15="http://schemas.microsoft.com/office/powerpoint/2012/main" userId="S-1-5-21-1531082355-734649621-3782574898-2299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45" autoAdjust="0"/>
    <p:restoredTop sz="38133" autoAdjust="0"/>
  </p:normalViewPr>
  <p:slideViewPr>
    <p:cSldViewPr snapToGrid="0" showGuides="1">
      <p:cViewPr varScale="1">
        <p:scale>
          <a:sx n="30" d="100"/>
          <a:sy n="30" d="100"/>
        </p:scale>
        <p:origin x="2520"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2-05T14:09:27.570" idx="1">
    <p:pos x="10" y="10"/>
    <p:text/>
    <p:extLst>
      <p:ext uri="{C676402C-5697-4E1C-873F-D02D1690AC5C}">
        <p15:threadingInfo xmlns:p15="http://schemas.microsoft.com/office/powerpoint/2012/main" timeZoneBias="-33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3DB6FE-130F-4B68-90ED-6D10C919E344}"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2BE5A0C-1CA4-49D5-8AEA-1658DD33DE84}">
      <dgm:prSet phldrT="[Text]"/>
      <dgm:spPr/>
      <dgm:t>
        <a:bodyPr/>
        <a:lstStyle/>
        <a:p>
          <a:r>
            <a:rPr lang="en-US" dirty="0" smtClean="0">
              <a:solidFill>
                <a:schemeClr val="tx1"/>
              </a:solidFill>
              <a:effectLst/>
              <a:latin typeface="Arial" pitchFamily="34" charset="0"/>
              <a:ea typeface="+mn-ea"/>
              <a:cs typeface="Arial" pitchFamily="34" charset="0"/>
            </a:rPr>
            <a:t>Kubernetes Masters</a:t>
          </a:r>
          <a:endParaRPr lang="en-US" dirty="0"/>
        </a:p>
      </dgm:t>
    </dgm:pt>
    <dgm:pt modelId="{57F88ED4-97D6-4FF6-9D53-3D075C6E0B04}" type="parTrans" cxnId="{55299798-0593-4AC2-83D9-0E9070822CFB}">
      <dgm:prSet/>
      <dgm:spPr/>
      <dgm:t>
        <a:bodyPr/>
        <a:lstStyle/>
        <a:p>
          <a:endParaRPr lang="en-US"/>
        </a:p>
      </dgm:t>
    </dgm:pt>
    <dgm:pt modelId="{D9AB8287-B450-4702-9C91-0CA2C70FCCA1}" type="sibTrans" cxnId="{55299798-0593-4AC2-83D9-0E9070822CFB}">
      <dgm:prSet/>
      <dgm:spPr/>
      <dgm:t>
        <a:bodyPr/>
        <a:lstStyle/>
        <a:p>
          <a:endParaRPr lang="en-US"/>
        </a:p>
      </dgm:t>
    </dgm:pt>
    <dgm:pt modelId="{9C1216E0-6A49-49D9-B857-F309EE68F332}">
      <dgm:prSet phldrT="[Text]"/>
      <dgm:spPr/>
      <dgm:t>
        <a:bodyPr/>
        <a:lstStyle/>
        <a:p>
          <a:r>
            <a:rPr lang="en-US" dirty="0" smtClean="0">
              <a:solidFill>
                <a:schemeClr val="tx1"/>
              </a:solidFill>
              <a:effectLst/>
              <a:latin typeface="Arial" pitchFamily="34" charset="0"/>
              <a:ea typeface="+mn-ea"/>
              <a:cs typeface="Arial" pitchFamily="34" charset="0"/>
            </a:rPr>
            <a:t>Kubernetes Nodes</a:t>
          </a:r>
          <a:endParaRPr lang="en-US" dirty="0"/>
        </a:p>
      </dgm:t>
    </dgm:pt>
    <dgm:pt modelId="{556D1A99-3BE0-4D29-AD51-E2FF70914BF3}" type="parTrans" cxnId="{3D756219-19F4-470F-AFCA-0ADEB2A93E58}">
      <dgm:prSet/>
      <dgm:spPr/>
      <dgm:t>
        <a:bodyPr/>
        <a:lstStyle/>
        <a:p>
          <a:endParaRPr lang="en-US"/>
        </a:p>
      </dgm:t>
    </dgm:pt>
    <dgm:pt modelId="{AE3DDF08-B5D7-41D8-9B15-2C152A456625}" type="sibTrans" cxnId="{3D756219-19F4-470F-AFCA-0ADEB2A93E58}">
      <dgm:prSet/>
      <dgm:spPr/>
      <dgm:t>
        <a:bodyPr/>
        <a:lstStyle/>
        <a:p>
          <a:endParaRPr lang="en-US"/>
        </a:p>
      </dgm:t>
    </dgm:pt>
    <dgm:pt modelId="{CBD0A9E5-7A45-4F42-8877-54CE9AE2A5CE}">
      <dgm:prSet phldrT="[Text]"/>
      <dgm:spPr/>
      <dgm:t>
        <a:bodyPr/>
        <a:lstStyle/>
        <a:p>
          <a:r>
            <a:rPr lang="en-US" dirty="0" smtClean="0">
              <a:solidFill>
                <a:schemeClr val="tx1"/>
              </a:solidFill>
              <a:effectLst/>
              <a:latin typeface="Arial" pitchFamily="34" charset="0"/>
              <a:ea typeface="+mn-ea"/>
              <a:cs typeface="Arial" pitchFamily="34" charset="0"/>
            </a:rPr>
            <a:t>Architecture &amp; Module Overview</a:t>
          </a:r>
          <a:endParaRPr lang="en-US" dirty="0"/>
        </a:p>
      </dgm:t>
    </dgm:pt>
    <dgm:pt modelId="{E40920A0-67FB-432E-90C6-92A0A23C8F51}" type="parTrans" cxnId="{8FC11570-4121-468F-84CC-1317DAE90084}">
      <dgm:prSet/>
      <dgm:spPr/>
      <dgm:t>
        <a:bodyPr/>
        <a:lstStyle/>
        <a:p>
          <a:endParaRPr lang="en-US"/>
        </a:p>
      </dgm:t>
    </dgm:pt>
    <dgm:pt modelId="{46C25ADB-6C1A-42D7-B3EC-B4BA285EA8B2}" type="sibTrans" cxnId="{8FC11570-4121-468F-84CC-1317DAE90084}">
      <dgm:prSet/>
      <dgm:spPr/>
      <dgm:t>
        <a:bodyPr/>
        <a:lstStyle/>
        <a:p>
          <a:endParaRPr lang="en-US"/>
        </a:p>
      </dgm:t>
    </dgm:pt>
    <dgm:pt modelId="{D1BA4AF2-D04C-4CD3-BC39-1DA648AC7223}">
      <dgm:prSet phldrT="[Text]"/>
      <dgm:spPr/>
      <dgm:t>
        <a:bodyPr/>
        <a:lstStyle/>
        <a:p>
          <a:r>
            <a:rPr lang="en-US" dirty="0" smtClean="0">
              <a:solidFill>
                <a:schemeClr val="tx1"/>
              </a:solidFill>
              <a:effectLst/>
              <a:latin typeface="Arial" pitchFamily="34" charset="0"/>
              <a:ea typeface="+mn-ea"/>
              <a:cs typeface="Arial" pitchFamily="34" charset="0"/>
            </a:rPr>
            <a:t>The Declarative Model and Desired State</a:t>
          </a:r>
          <a:endParaRPr lang="en-US" dirty="0"/>
        </a:p>
      </dgm:t>
    </dgm:pt>
    <dgm:pt modelId="{6C14D868-462C-4CD2-89FE-7201FD8B068B}" type="parTrans" cxnId="{BDD6AFBA-54C9-4B6A-9E0C-190FE7F94038}">
      <dgm:prSet/>
      <dgm:spPr/>
      <dgm:t>
        <a:bodyPr/>
        <a:lstStyle/>
        <a:p>
          <a:endParaRPr lang="en-US"/>
        </a:p>
      </dgm:t>
    </dgm:pt>
    <dgm:pt modelId="{F6E4119A-DAB6-4B59-8D44-68926D2A5233}" type="sibTrans" cxnId="{BDD6AFBA-54C9-4B6A-9E0C-190FE7F94038}">
      <dgm:prSet/>
      <dgm:spPr/>
      <dgm:t>
        <a:bodyPr/>
        <a:lstStyle/>
        <a:p>
          <a:endParaRPr lang="en-US"/>
        </a:p>
      </dgm:t>
    </dgm:pt>
    <dgm:pt modelId="{1B47C4F7-205E-4EAF-88F8-25EDA832BA74}">
      <dgm:prSet phldrT="[Text]"/>
      <dgm:spPr/>
      <dgm:t>
        <a:bodyPr/>
        <a:lstStyle/>
        <a:p>
          <a:r>
            <a:rPr lang="en-US" dirty="0" smtClean="0">
              <a:solidFill>
                <a:schemeClr val="tx1"/>
              </a:solidFill>
              <a:effectLst/>
              <a:latin typeface="Arial" pitchFamily="34" charset="0"/>
              <a:ea typeface="+mn-ea"/>
              <a:cs typeface="Arial" pitchFamily="34" charset="0"/>
            </a:rPr>
            <a:t>Kubernetes Big Picture View</a:t>
          </a:r>
          <a:endParaRPr lang="en-US" dirty="0"/>
        </a:p>
      </dgm:t>
    </dgm:pt>
    <dgm:pt modelId="{673EF4E8-6615-429D-8DAF-88DD61DE3017}" type="parTrans" cxnId="{F6FE58F7-EC1A-4D6F-A814-E89C9E05B727}">
      <dgm:prSet/>
      <dgm:spPr/>
      <dgm:t>
        <a:bodyPr/>
        <a:lstStyle/>
        <a:p>
          <a:endParaRPr lang="en-US"/>
        </a:p>
      </dgm:t>
    </dgm:pt>
    <dgm:pt modelId="{97E477D7-D3FA-4ABB-A96E-6EE4AE8E4848}" type="sibTrans" cxnId="{F6FE58F7-EC1A-4D6F-A814-E89C9E05B727}">
      <dgm:prSet/>
      <dgm:spPr/>
      <dgm:t>
        <a:bodyPr/>
        <a:lstStyle/>
        <a:p>
          <a:endParaRPr lang="en-US"/>
        </a:p>
      </dgm:t>
    </dgm:pt>
    <dgm:pt modelId="{8687A110-8602-43BD-89A1-1929C2EA77A3}">
      <dgm:prSet phldrT="[Text]"/>
      <dgm:spPr/>
      <dgm:t>
        <a:bodyPr/>
        <a:lstStyle/>
        <a:p>
          <a:r>
            <a:rPr lang="en-US" dirty="0" smtClean="0">
              <a:solidFill>
                <a:schemeClr val="tx1"/>
              </a:solidFill>
              <a:effectLst/>
              <a:latin typeface="Arial" pitchFamily="34" charset="0"/>
              <a:ea typeface="+mn-ea"/>
              <a:cs typeface="Arial" pitchFamily="34" charset="0"/>
            </a:rPr>
            <a:t>Kubernetes Pods</a:t>
          </a:r>
          <a:endParaRPr lang="en-US" dirty="0"/>
        </a:p>
      </dgm:t>
    </dgm:pt>
    <dgm:pt modelId="{1F56C2AA-A53A-4C69-AF0E-D518D0E0D7F1}" type="parTrans" cxnId="{53D4CA03-F2FA-4809-97BC-8D03A74A517F}">
      <dgm:prSet/>
      <dgm:spPr/>
      <dgm:t>
        <a:bodyPr/>
        <a:lstStyle/>
        <a:p>
          <a:endParaRPr lang="en-US"/>
        </a:p>
      </dgm:t>
    </dgm:pt>
    <dgm:pt modelId="{569A9AC7-66BB-4DCF-865B-779ACF9CF031}" type="sibTrans" cxnId="{53D4CA03-F2FA-4809-97BC-8D03A74A517F}">
      <dgm:prSet/>
      <dgm:spPr/>
      <dgm:t>
        <a:bodyPr/>
        <a:lstStyle/>
        <a:p>
          <a:endParaRPr lang="en-US"/>
        </a:p>
      </dgm:t>
    </dgm:pt>
    <dgm:pt modelId="{1D9B425C-2F62-4234-BF52-C173A1F209F3}" type="pres">
      <dgm:prSet presAssocID="{FD3DB6FE-130F-4B68-90ED-6D10C919E344}" presName="Name0" presStyleCnt="0">
        <dgm:presLayoutVars>
          <dgm:chMax/>
          <dgm:chPref/>
          <dgm:dir/>
        </dgm:presLayoutVars>
      </dgm:prSet>
      <dgm:spPr/>
      <dgm:t>
        <a:bodyPr/>
        <a:lstStyle/>
        <a:p>
          <a:endParaRPr lang="en-US"/>
        </a:p>
      </dgm:t>
    </dgm:pt>
    <dgm:pt modelId="{76031BDB-0AE0-49CE-AB4D-9D5D615E264C}" type="pres">
      <dgm:prSet presAssocID="{CBD0A9E5-7A45-4F42-8877-54CE9AE2A5CE}" presName="parenttextcomposite" presStyleCnt="0"/>
      <dgm:spPr/>
    </dgm:pt>
    <dgm:pt modelId="{B2A5D084-7BC6-4561-814F-2849CA63EA58}" type="pres">
      <dgm:prSet presAssocID="{CBD0A9E5-7A45-4F42-8877-54CE9AE2A5CE}" presName="parenttext" presStyleLbl="revTx" presStyleIdx="0" presStyleCnt="6">
        <dgm:presLayoutVars>
          <dgm:chMax/>
          <dgm:chPref val="2"/>
          <dgm:bulletEnabled val="1"/>
        </dgm:presLayoutVars>
      </dgm:prSet>
      <dgm:spPr/>
      <dgm:t>
        <a:bodyPr/>
        <a:lstStyle/>
        <a:p>
          <a:endParaRPr lang="en-US"/>
        </a:p>
      </dgm:t>
    </dgm:pt>
    <dgm:pt modelId="{1DCF8EB4-B65C-4AE0-8BDE-BA382145AC87}" type="pres">
      <dgm:prSet presAssocID="{CBD0A9E5-7A45-4F42-8877-54CE9AE2A5CE}" presName="parallelogramComposite" presStyleCnt="0"/>
      <dgm:spPr/>
    </dgm:pt>
    <dgm:pt modelId="{E01FD87B-14DB-4D5E-8E57-399BE45FB165}" type="pres">
      <dgm:prSet presAssocID="{CBD0A9E5-7A45-4F42-8877-54CE9AE2A5CE}" presName="parallelogram1" presStyleLbl="alignNode1" presStyleIdx="0" presStyleCnt="42"/>
      <dgm:spPr/>
    </dgm:pt>
    <dgm:pt modelId="{23B7D716-4B36-4EE9-89A2-D0AAA1AB4764}" type="pres">
      <dgm:prSet presAssocID="{CBD0A9E5-7A45-4F42-8877-54CE9AE2A5CE}" presName="parallelogram2" presStyleLbl="alignNode1" presStyleIdx="1" presStyleCnt="42"/>
      <dgm:spPr/>
    </dgm:pt>
    <dgm:pt modelId="{389B14CF-2380-4D0A-9AA3-0F66693437B7}" type="pres">
      <dgm:prSet presAssocID="{CBD0A9E5-7A45-4F42-8877-54CE9AE2A5CE}" presName="parallelogram3" presStyleLbl="alignNode1" presStyleIdx="2" presStyleCnt="42"/>
      <dgm:spPr/>
    </dgm:pt>
    <dgm:pt modelId="{98884B77-BF7B-4FC0-9D00-51B5F17EBF7D}" type="pres">
      <dgm:prSet presAssocID="{CBD0A9E5-7A45-4F42-8877-54CE9AE2A5CE}" presName="parallelogram4" presStyleLbl="alignNode1" presStyleIdx="3" presStyleCnt="42"/>
      <dgm:spPr/>
    </dgm:pt>
    <dgm:pt modelId="{46529FEF-28B8-4E34-9C54-CF1E9C9C412B}" type="pres">
      <dgm:prSet presAssocID="{CBD0A9E5-7A45-4F42-8877-54CE9AE2A5CE}" presName="parallelogram5" presStyleLbl="alignNode1" presStyleIdx="4" presStyleCnt="42"/>
      <dgm:spPr/>
    </dgm:pt>
    <dgm:pt modelId="{7BC95DA3-A843-4CA2-AC28-E5BDD76F656A}" type="pres">
      <dgm:prSet presAssocID="{CBD0A9E5-7A45-4F42-8877-54CE9AE2A5CE}" presName="parallelogram6" presStyleLbl="alignNode1" presStyleIdx="5" presStyleCnt="42"/>
      <dgm:spPr/>
    </dgm:pt>
    <dgm:pt modelId="{CAF6C7A1-CEDA-4597-AD5E-9591CF252A12}" type="pres">
      <dgm:prSet presAssocID="{CBD0A9E5-7A45-4F42-8877-54CE9AE2A5CE}" presName="parallelogram7" presStyleLbl="alignNode1" presStyleIdx="6" presStyleCnt="42"/>
      <dgm:spPr/>
    </dgm:pt>
    <dgm:pt modelId="{4FAE2DE3-A553-4F6D-9146-46A3E2AF84FC}" type="pres">
      <dgm:prSet presAssocID="{46C25ADB-6C1A-42D7-B3EC-B4BA285EA8B2}" presName="sibTrans" presStyleCnt="0"/>
      <dgm:spPr/>
    </dgm:pt>
    <dgm:pt modelId="{C5374C3D-AD25-4205-BA2F-6493B927FBD9}" type="pres">
      <dgm:prSet presAssocID="{1B47C4F7-205E-4EAF-88F8-25EDA832BA74}" presName="parenttextcomposite" presStyleCnt="0"/>
      <dgm:spPr/>
    </dgm:pt>
    <dgm:pt modelId="{175BDB8A-8FE2-4A37-A307-C6C400CB4F5B}" type="pres">
      <dgm:prSet presAssocID="{1B47C4F7-205E-4EAF-88F8-25EDA832BA74}" presName="parenttext" presStyleLbl="revTx" presStyleIdx="1" presStyleCnt="6">
        <dgm:presLayoutVars>
          <dgm:chMax/>
          <dgm:chPref val="2"/>
          <dgm:bulletEnabled val="1"/>
        </dgm:presLayoutVars>
      </dgm:prSet>
      <dgm:spPr/>
      <dgm:t>
        <a:bodyPr/>
        <a:lstStyle/>
        <a:p>
          <a:endParaRPr lang="en-US"/>
        </a:p>
      </dgm:t>
    </dgm:pt>
    <dgm:pt modelId="{44FFC94B-62B6-48F6-A008-8AABEAB5E4FE}" type="pres">
      <dgm:prSet presAssocID="{1B47C4F7-205E-4EAF-88F8-25EDA832BA74}" presName="parallelogramComposite" presStyleCnt="0"/>
      <dgm:spPr/>
    </dgm:pt>
    <dgm:pt modelId="{6394A1DD-BD92-40DC-BE42-398B5A565FF9}" type="pres">
      <dgm:prSet presAssocID="{1B47C4F7-205E-4EAF-88F8-25EDA832BA74}" presName="parallelogram1" presStyleLbl="alignNode1" presStyleIdx="7" presStyleCnt="42"/>
      <dgm:spPr/>
    </dgm:pt>
    <dgm:pt modelId="{85F664BD-AA8C-46A2-AE24-F8FCFCA03B45}" type="pres">
      <dgm:prSet presAssocID="{1B47C4F7-205E-4EAF-88F8-25EDA832BA74}" presName="parallelogram2" presStyleLbl="alignNode1" presStyleIdx="8" presStyleCnt="42"/>
      <dgm:spPr/>
    </dgm:pt>
    <dgm:pt modelId="{CEDCEDC3-D50E-4FF0-A8D8-012D8CE6059F}" type="pres">
      <dgm:prSet presAssocID="{1B47C4F7-205E-4EAF-88F8-25EDA832BA74}" presName="parallelogram3" presStyleLbl="alignNode1" presStyleIdx="9" presStyleCnt="42"/>
      <dgm:spPr/>
    </dgm:pt>
    <dgm:pt modelId="{08253EC2-2DF2-4C05-857B-E6F486824CB2}" type="pres">
      <dgm:prSet presAssocID="{1B47C4F7-205E-4EAF-88F8-25EDA832BA74}" presName="parallelogram4" presStyleLbl="alignNode1" presStyleIdx="10" presStyleCnt="42"/>
      <dgm:spPr/>
    </dgm:pt>
    <dgm:pt modelId="{12B6026B-9957-4B04-8EB6-17DBE4D7B42F}" type="pres">
      <dgm:prSet presAssocID="{1B47C4F7-205E-4EAF-88F8-25EDA832BA74}" presName="parallelogram5" presStyleLbl="alignNode1" presStyleIdx="11" presStyleCnt="42"/>
      <dgm:spPr/>
    </dgm:pt>
    <dgm:pt modelId="{900B2300-46C2-459F-AF80-4902EDC8E1BC}" type="pres">
      <dgm:prSet presAssocID="{1B47C4F7-205E-4EAF-88F8-25EDA832BA74}" presName="parallelogram6" presStyleLbl="alignNode1" presStyleIdx="12" presStyleCnt="42"/>
      <dgm:spPr/>
    </dgm:pt>
    <dgm:pt modelId="{2AB7A73B-4FDF-467A-9F9D-A2F8BD42DF13}" type="pres">
      <dgm:prSet presAssocID="{1B47C4F7-205E-4EAF-88F8-25EDA832BA74}" presName="parallelogram7" presStyleLbl="alignNode1" presStyleIdx="13" presStyleCnt="42"/>
      <dgm:spPr/>
    </dgm:pt>
    <dgm:pt modelId="{FC01A8C9-9411-46A6-8BAC-4F362C95DA3B}" type="pres">
      <dgm:prSet presAssocID="{97E477D7-D3FA-4ABB-A96E-6EE4AE8E4848}" presName="sibTrans" presStyleCnt="0"/>
      <dgm:spPr/>
    </dgm:pt>
    <dgm:pt modelId="{51130C27-4940-4C94-B61B-B13854A50F45}" type="pres">
      <dgm:prSet presAssocID="{12BE5A0C-1CA4-49D5-8AEA-1658DD33DE84}" presName="parenttextcomposite" presStyleCnt="0"/>
      <dgm:spPr/>
    </dgm:pt>
    <dgm:pt modelId="{EB748BDC-6765-4BA8-AC5D-E654A94F3821}" type="pres">
      <dgm:prSet presAssocID="{12BE5A0C-1CA4-49D5-8AEA-1658DD33DE84}" presName="parenttext" presStyleLbl="revTx" presStyleIdx="2" presStyleCnt="6">
        <dgm:presLayoutVars>
          <dgm:chMax/>
          <dgm:chPref val="2"/>
          <dgm:bulletEnabled val="1"/>
        </dgm:presLayoutVars>
      </dgm:prSet>
      <dgm:spPr/>
      <dgm:t>
        <a:bodyPr/>
        <a:lstStyle/>
        <a:p>
          <a:endParaRPr lang="en-US"/>
        </a:p>
      </dgm:t>
    </dgm:pt>
    <dgm:pt modelId="{372CEF75-D3FC-4E52-89EE-7A6A39592DA8}" type="pres">
      <dgm:prSet presAssocID="{12BE5A0C-1CA4-49D5-8AEA-1658DD33DE84}" presName="parallelogramComposite" presStyleCnt="0"/>
      <dgm:spPr/>
    </dgm:pt>
    <dgm:pt modelId="{B23D5DFF-277F-47EC-B766-254B7843A471}" type="pres">
      <dgm:prSet presAssocID="{12BE5A0C-1CA4-49D5-8AEA-1658DD33DE84}" presName="parallelogram1" presStyleLbl="alignNode1" presStyleIdx="14" presStyleCnt="42"/>
      <dgm:spPr/>
    </dgm:pt>
    <dgm:pt modelId="{5DC2C858-E7FD-454E-810F-3833E4F6A4FE}" type="pres">
      <dgm:prSet presAssocID="{12BE5A0C-1CA4-49D5-8AEA-1658DD33DE84}" presName="parallelogram2" presStyleLbl="alignNode1" presStyleIdx="15" presStyleCnt="42"/>
      <dgm:spPr/>
    </dgm:pt>
    <dgm:pt modelId="{D97A7113-372D-4E83-A998-04EBAEA17532}" type="pres">
      <dgm:prSet presAssocID="{12BE5A0C-1CA4-49D5-8AEA-1658DD33DE84}" presName="parallelogram3" presStyleLbl="alignNode1" presStyleIdx="16" presStyleCnt="42"/>
      <dgm:spPr/>
    </dgm:pt>
    <dgm:pt modelId="{27F9115D-69E8-4929-A843-4DA0FF8D50EC}" type="pres">
      <dgm:prSet presAssocID="{12BE5A0C-1CA4-49D5-8AEA-1658DD33DE84}" presName="parallelogram4" presStyleLbl="alignNode1" presStyleIdx="17" presStyleCnt="42"/>
      <dgm:spPr/>
    </dgm:pt>
    <dgm:pt modelId="{F4AD7304-F4B3-446A-B79E-0F71D30FD4BA}" type="pres">
      <dgm:prSet presAssocID="{12BE5A0C-1CA4-49D5-8AEA-1658DD33DE84}" presName="parallelogram5" presStyleLbl="alignNode1" presStyleIdx="18" presStyleCnt="42"/>
      <dgm:spPr/>
    </dgm:pt>
    <dgm:pt modelId="{C744AF08-7521-4F1F-B869-FF9FD3CD437B}" type="pres">
      <dgm:prSet presAssocID="{12BE5A0C-1CA4-49D5-8AEA-1658DD33DE84}" presName="parallelogram6" presStyleLbl="alignNode1" presStyleIdx="19" presStyleCnt="42"/>
      <dgm:spPr/>
    </dgm:pt>
    <dgm:pt modelId="{024A51C2-27BD-452A-9848-98953F73DAEE}" type="pres">
      <dgm:prSet presAssocID="{12BE5A0C-1CA4-49D5-8AEA-1658DD33DE84}" presName="parallelogram7" presStyleLbl="alignNode1" presStyleIdx="20" presStyleCnt="42"/>
      <dgm:spPr/>
    </dgm:pt>
    <dgm:pt modelId="{F8EBDEBF-11CE-4B5B-B8AC-565879422297}" type="pres">
      <dgm:prSet presAssocID="{D9AB8287-B450-4702-9C91-0CA2C70FCCA1}" presName="sibTrans" presStyleCnt="0"/>
      <dgm:spPr/>
    </dgm:pt>
    <dgm:pt modelId="{487C8EF6-3C51-47DD-9210-6B6268DAFE08}" type="pres">
      <dgm:prSet presAssocID="{9C1216E0-6A49-49D9-B857-F309EE68F332}" presName="parenttextcomposite" presStyleCnt="0"/>
      <dgm:spPr/>
    </dgm:pt>
    <dgm:pt modelId="{637E7FB8-1F73-4BDE-B97E-89EF340E6C79}" type="pres">
      <dgm:prSet presAssocID="{9C1216E0-6A49-49D9-B857-F309EE68F332}" presName="parenttext" presStyleLbl="revTx" presStyleIdx="3" presStyleCnt="6">
        <dgm:presLayoutVars>
          <dgm:chMax/>
          <dgm:chPref val="2"/>
          <dgm:bulletEnabled val="1"/>
        </dgm:presLayoutVars>
      </dgm:prSet>
      <dgm:spPr/>
      <dgm:t>
        <a:bodyPr/>
        <a:lstStyle/>
        <a:p>
          <a:endParaRPr lang="en-US"/>
        </a:p>
      </dgm:t>
    </dgm:pt>
    <dgm:pt modelId="{E557D83C-C5FF-48FE-9E55-A5D08BA62BC7}" type="pres">
      <dgm:prSet presAssocID="{9C1216E0-6A49-49D9-B857-F309EE68F332}" presName="parallelogramComposite" presStyleCnt="0"/>
      <dgm:spPr/>
    </dgm:pt>
    <dgm:pt modelId="{B17A0E64-2F7F-4410-AF9A-B2443DA355F4}" type="pres">
      <dgm:prSet presAssocID="{9C1216E0-6A49-49D9-B857-F309EE68F332}" presName="parallelogram1" presStyleLbl="alignNode1" presStyleIdx="21" presStyleCnt="42"/>
      <dgm:spPr/>
    </dgm:pt>
    <dgm:pt modelId="{413060E6-1D08-4545-9833-86AB6BEA93AC}" type="pres">
      <dgm:prSet presAssocID="{9C1216E0-6A49-49D9-B857-F309EE68F332}" presName="parallelogram2" presStyleLbl="alignNode1" presStyleIdx="22" presStyleCnt="42"/>
      <dgm:spPr/>
    </dgm:pt>
    <dgm:pt modelId="{D811CAF1-D925-4558-9B45-C3FC838808B2}" type="pres">
      <dgm:prSet presAssocID="{9C1216E0-6A49-49D9-B857-F309EE68F332}" presName="parallelogram3" presStyleLbl="alignNode1" presStyleIdx="23" presStyleCnt="42"/>
      <dgm:spPr/>
    </dgm:pt>
    <dgm:pt modelId="{FF10008F-B4B1-4725-90D8-942B608B2ACF}" type="pres">
      <dgm:prSet presAssocID="{9C1216E0-6A49-49D9-B857-F309EE68F332}" presName="parallelogram4" presStyleLbl="alignNode1" presStyleIdx="24" presStyleCnt="42"/>
      <dgm:spPr/>
    </dgm:pt>
    <dgm:pt modelId="{7D4C4818-708B-41F9-BCC5-3E5005F68C11}" type="pres">
      <dgm:prSet presAssocID="{9C1216E0-6A49-49D9-B857-F309EE68F332}" presName="parallelogram5" presStyleLbl="alignNode1" presStyleIdx="25" presStyleCnt="42"/>
      <dgm:spPr/>
    </dgm:pt>
    <dgm:pt modelId="{21F84DB7-3AD3-4912-B40E-F3BCFB916A9E}" type="pres">
      <dgm:prSet presAssocID="{9C1216E0-6A49-49D9-B857-F309EE68F332}" presName="parallelogram6" presStyleLbl="alignNode1" presStyleIdx="26" presStyleCnt="42"/>
      <dgm:spPr/>
    </dgm:pt>
    <dgm:pt modelId="{0E854234-D552-4DE5-B8C9-E58F1279BE6C}" type="pres">
      <dgm:prSet presAssocID="{9C1216E0-6A49-49D9-B857-F309EE68F332}" presName="parallelogram7" presStyleLbl="alignNode1" presStyleIdx="27" presStyleCnt="42"/>
      <dgm:spPr/>
    </dgm:pt>
    <dgm:pt modelId="{CC55733C-98F1-4385-B72B-D50119EC3230}" type="pres">
      <dgm:prSet presAssocID="{AE3DDF08-B5D7-41D8-9B15-2C152A456625}" presName="sibTrans" presStyleCnt="0"/>
      <dgm:spPr/>
    </dgm:pt>
    <dgm:pt modelId="{6D21297B-F978-4972-B10F-CCBFB692DB02}" type="pres">
      <dgm:prSet presAssocID="{D1BA4AF2-D04C-4CD3-BC39-1DA648AC7223}" presName="parenttextcomposite" presStyleCnt="0"/>
      <dgm:spPr/>
    </dgm:pt>
    <dgm:pt modelId="{17D4BBF9-86C1-46A1-85D7-AB4B9A08027F}" type="pres">
      <dgm:prSet presAssocID="{D1BA4AF2-D04C-4CD3-BC39-1DA648AC7223}" presName="parenttext" presStyleLbl="revTx" presStyleIdx="4" presStyleCnt="6">
        <dgm:presLayoutVars>
          <dgm:chMax/>
          <dgm:chPref val="2"/>
          <dgm:bulletEnabled val="1"/>
        </dgm:presLayoutVars>
      </dgm:prSet>
      <dgm:spPr/>
      <dgm:t>
        <a:bodyPr/>
        <a:lstStyle/>
        <a:p>
          <a:endParaRPr lang="en-US"/>
        </a:p>
      </dgm:t>
    </dgm:pt>
    <dgm:pt modelId="{7452449F-8BC6-4D72-8208-5D8429C78F74}" type="pres">
      <dgm:prSet presAssocID="{D1BA4AF2-D04C-4CD3-BC39-1DA648AC7223}" presName="parallelogramComposite" presStyleCnt="0"/>
      <dgm:spPr/>
    </dgm:pt>
    <dgm:pt modelId="{60E5730D-A2B1-48CA-9C4D-510E4ED154CF}" type="pres">
      <dgm:prSet presAssocID="{D1BA4AF2-D04C-4CD3-BC39-1DA648AC7223}" presName="parallelogram1" presStyleLbl="alignNode1" presStyleIdx="28" presStyleCnt="42"/>
      <dgm:spPr/>
    </dgm:pt>
    <dgm:pt modelId="{42FBA239-A48A-4D33-8137-43BED3732530}" type="pres">
      <dgm:prSet presAssocID="{D1BA4AF2-D04C-4CD3-BC39-1DA648AC7223}" presName="parallelogram2" presStyleLbl="alignNode1" presStyleIdx="29" presStyleCnt="42"/>
      <dgm:spPr/>
    </dgm:pt>
    <dgm:pt modelId="{7505BDBC-4A05-4E21-8401-5F35D8230C76}" type="pres">
      <dgm:prSet presAssocID="{D1BA4AF2-D04C-4CD3-BC39-1DA648AC7223}" presName="parallelogram3" presStyleLbl="alignNode1" presStyleIdx="30" presStyleCnt="42"/>
      <dgm:spPr/>
    </dgm:pt>
    <dgm:pt modelId="{EC8A6E6F-F4D7-4796-A54D-B5B7B7536E69}" type="pres">
      <dgm:prSet presAssocID="{D1BA4AF2-D04C-4CD3-BC39-1DA648AC7223}" presName="parallelogram4" presStyleLbl="alignNode1" presStyleIdx="31" presStyleCnt="42"/>
      <dgm:spPr/>
    </dgm:pt>
    <dgm:pt modelId="{8F5DE1A5-521B-413F-9CBA-A7114D9DA3D6}" type="pres">
      <dgm:prSet presAssocID="{D1BA4AF2-D04C-4CD3-BC39-1DA648AC7223}" presName="parallelogram5" presStyleLbl="alignNode1" presStyleIdx="32" presStyleCnt="42"/>
      <dgm:spPr/>
    </dgm:pt>
    <dgm:pt modelId="{7909B03A-56A8-48CF-9B2C-16C4FA44F06E}" type="pres">
      <dgm:prSet presAssocID="{D1BA4AF2-D04C-4CD3-BC39-1DA648AC7223}" presName="parallelogram6" presStyleLbl="alignNode1" presStyleIdx="33" presStyleCnt="42"/>
      <dgm:spPr/>
    </dgm:pt>
    <dgm:pt modelId="{686D40E1-18B8-4C7A-941A-8AB559BE591C}" type="pres">
      <dgm:prSet presAssocID="{D1BA4AF2-D04C-4CD3-BC39-1DA648AC7223}" presName="parallelogram7" presStyleLbl="alignNode1" presStyleIdx="34" presStyleCnt="42"/>
      <dgm:spPr/>
    </dgm:pt>
    <dgm:pt modelId="{14D1E1E5-51CA-4D9C-9F91-C83BE2F8E7E1}" type="pres">
      <dgm:prSet presAssocID="{F6E4119A-DAB6-4B59-8D44-68926D2A5233}" presName="sibTrans" presStyleCnt="0"/>
      <dgm:spPr/>
    </dgm:pt>
    <dgm:pt modelId="{D55F789E-EB13-4447-845B-F76F7E15D75A}" type="pres">
      <dgm:prSet presAssocID="{8687A110-8602-43BD-89A1-1929C2EA77A3}" presName="parenttextcomposite" presStyleCnt="0"/>
      <dgm:spPr/>
    </dgm:pt>
    <dgm:pt modelId="{85F9AF49-0EE7-445A-B548-205E3112AE43}" type="pres">
      <dgm:prSet presAssocID="{8687A110-8602-43BD-89A1-1929C2EA77A3}" presName="parenttext" presStyleLbl="revTx" presStyleIdx="5" presStyleCnt="6">
        <dgm:presLayoutVars>
          <dgm:chMax/>
          <dgm:chPref val="2"/>
          <dgm:bulletEnabled val="1"/>
        </dgm:presLayoutVars>
      </dgm:prSet>
      <dgm:spPr/>
      <dgm:t>
        <a:bodyPr/>
        <a:lstStyle/>
        <a:p>
          <a:endParaRPr lang="en-US"/>
        </a:p>
      </dgm:t>
    </dgm:pt>
    <dgm:pt modelId="{0676308E-6B15-42EC-9F16-065835D80316}" type="pres">
      <dgm:prSet presAssocID="{8687A110-8602-43BD-89A1-1929C2EA77A3}" presName="parallelogramComposite" presStyleCnt="0"/>
      <dgm:spPr/>
    </dgm:pt>
    <dgm:pt modelId="{71965718-DCD2-42AB-9610-F4A9ED8ECE8C}" type="pres">
      <dgm:prSet presAssocID="{8687A110-8602-43BD-89A1-1929C2EA77A3}" presName="parallelogram1" presStyleLbl="alignNode1" presStyleIdx="35" presStyleCnt="42"/>
      <dgm:spPr/>
    </dgm:pt>
    <dgm:pt modelId="{BFDBA777-B381-4E6B-8AC4-01DD91CC0200}" type="pres">
      <dgm:prSet presAssocID="{8687A110-8602-43BD-89A1-1929C2EA77A3}" presName="parallelogram2" presStyleLbl="alignNode1" presStyleIdx="36" presStyleCnt="42"/>
      <dgm:spPr/>
    </dgm:pt>
    <dgm:pt modelId="{519CE54D-1C09-4815-9C51-749E83358774}" type="pres">
      <dgm:prSet presAssocID="{8687A110-8602-43BD-89A1-1929C2EA77A3}" presName="parallelogram3" presStyleLbl="alignNode1" presStyleIdx="37" presStyleCnt="42"/>
      <dgm:spPr/>
    </dgm:pt>
    <dgm:pt modelId="{4FC9FB50-BE5E-413E-9B3D-85556C2CBF4E}" type="pres">
      <dgm:prSet presAssocID="{8687A110-8602-43BD-89A1-1929C2EA77A3}" presName="parallelogram4" presStyleLbl="alignNode1" presStyleIdx="38" presStyleCnt="42"/>
      <dgm:spPr/>
    </dgm:pt>
    <dgm:pt modelId="{DAB12738-59B5-4974-8DF2-CE81F6E7DE99}" type="pres">
      <dgm:prSet presAssocID="{8687A110-8602-43BD-89A1-1929C2EA77A3}" presName="parallelogram5" presStyleLbl="alignNode1" presStyleIdx="39" presStyleCnt="42"/>
      <dgm:spPr/>
    </dgm:pt>
    <dgm:pt modelId="{FA2BB8DE-E363-4940-8530-19AAC9154A7E}" type="pres">
      <dgm:prSet presAssocID="{8687A110-8602-43BD-89A1-1929C2EA77A3}" presName="parallelogram6" presStyleLbl="alignNode1" presStyleIdx="40" presStyleCnt="42"/>
      <dgm:spPr/>
    </dgm:pt>
    <dgm:pt modelId="{E2B6ACB9-1F60-44A4-A9EA-14F21F88A1A9}" type="pres">
      <dgm:prSet presAssocID="{8687A110-8602-43BD-89A1-1929C2EA77A3}" presName="parallelogram7" presStyleLbl="alignNode1" presStyleIdx="41" presStyleCnt="42"/>
      <dgm:spPr/>
    </dgm:pt>
  </dgm:ptLst>
  <dgm:cxnLst>
    <dgm:cxn modelId="{5BF3880C-A6BC-40CA-BAEB-8E62B8D88E4E}" type="presOf" srcId="{9C1216E0-6A49-49D9-B857-F309EE68F332}" destId="{637E7FB8-1F73-4BDE-B97E-89EF340E6C79}" srcOrd="0" destOrd="0" presId="urn:microsoft.com/office/officeart/2008/layout/VerticalAccentList"/>
    <dgm:cxn modelId="{A6841B04-5E73-450B-94E5-65DE41189FEE}" type="presOf" srcId="{1B47C4F7-205E-4EAF-88F8-25EDA832BA74}" destId="{175BDB8A-8FE2-4A37-A307-C6C400CB4F5B}" srcOrd="0" destOrd="0" presId="urn:microsoft.com/office/officeart/2008/layout/VerticalAccentList"/>
    <dgm:cxn modelId="{BDD6AFBA-54C9-4B6A-9E0C-190FE7F94038}" srcId="{FD3DB6FE-130F-4B68-90ED-6D10C919E344}" destId="{D1BA4AF2-D04C-4CD3-BC39-1DA648AC7223}" srcOrd="4" destOrd="0" parTransId="{6C14D868-462C-4CD2-89FE-7201FD8B068B}" sibTransId="{F6E4119A-DAB6-4B59-8D44-68926D2A5233}"/>
    <dgm:cxn modelId="{E7D6B5E4-D26D-4893-8BAE-C0ECE8D0B0D4}" type="presOf" srcId="{CBD0A9E5-7A45-4F42-8877-54CE9AE2A5CE}" destId="{B2A5D084-7BC6-4561-814F-2849CA63EA58}" srcOrd="0" destOrd="0" presId="urn:microsoft.com/office/officeart/2008/layout/VerticalAccentList"/>
    <dgm:cxn modelId="{CBAB40A5-8C0C-46E6-8908-6F545756DACD}" type="presOf" srcId="{FD3DB6FE-130F-4B68-90ED-6D10C919E344}" destId="{1D9B425C-2F62-4234-BF52-C173A1F209F3}" srcOrd="0" destOrd="0" presId="urn:microsoft.com/office/officeart/2008/layout/VerticalAccentList"/>
    <dgm:cxn modelId="{47740911-47B6-43E2-A9E2-69EC2FBA87C0}" type="presOf" srcId="{12BE5A0C-1CA4-49D5-8AEA-1658DD33DE84}" destId="{EB748BDC-6765-4BA8-AC5D-E654A94F3821}" srcOrd="0" destOrd="0" presId="urn:microsoft.com/office/officeart/2008/layout/VerticalAccentList"/>
    <dgm:cxn modelId="{F6FE58F7-EC1A-4D6F-A814-E89C9E05B727}" srcId="{FD3DB6FE-130F-4B68-90ED-6D10C919E344}" destId="{1B47C4F7-205E-4EAF-88F8-25EDA832BA74}" srcOrd="1" destOrd="0" parTransId="{673EF4E8-6615-429D-8DAF-88DD61DE3017}" sibTransId="{97E477D7-D3FA-4ABB-A96E-6EE4AE8E4848}"/>
    <dgm:cxn modelId="{53D4CA03-F2FA-4809-97BC-8D03A74A517F}" srcId="{FD3DB6FE-130F-4B68-90ED-6D10C919E344}" destId="{8687A110-8602-43BD-89A1-1929C2EA77A3}" srcOrd="5" destOrd="0" parTransId="{1F56C2AA-A53A-4C69-AF0E-D518D0E0D7F1}" sibTransId="{569A9AC7-66BB-4DCF-865B-779ACF9CF031}"/>
    <dgm:cxn modelId="{74CAE912-5590-4ED6-A820-A862081A634F}" type="presOf" srcId="{8687A110-8602-43BD-89A1-1929C2EA77A3}" destId="{85F9AF49-0EE7-445A-B548-205E3112AE43}" srcOrd="0" destOrd="0" presId="urn:microsoft.com/office/officeart/2008/layout/VerticalAccentList"/>
    <dgm:cxn modelId="{55299798-0593-4AC2-83D9-0E9070822CFB}" srcId="{FD3DB6FE-130F-4B68-90ED-6D10C919E344}" destId="{12BE5A0C-1CA4-49D5-8AEA-1658DD33DE84}" srcOrd="2" destOrd="0" parTransId="{57F88ED4-97D6-4FF6-9D53-3D075C6E0B04}" sibTransId="{D9AB8287-B450-4702-9C91-0CA2C70FCCA1}"/>
    <dgm:cxn modelId="{3D756219-19F4-470F-AFCA-0ADEB2A93E58}" srcId="{FD3DB6FE-130F-4B68-90ED-6D10C919E344}" destId="{9C1216E0-6A49-49D9-B857-F309EE68F332}" srcOrd="3" destOrd="0" parTransId="{556D1A99-3BE0-4D29-AD51-E2FF70914BF3}" sibTransId="{AE3DDF08-B5D7-41D8-9B15-2C152A456625}"/>
    <dgm:cxn modelId="{080A4904-A035-477B-BDCF-C2E877D64942}" type="presOf" srcId="{D1BA4AF2-D04C-4CD3-BC39-1DA648AC7223}" destId="{17D4BBF9-86C1-46A1-85D7-AB4B9A08027F}" srcOrd="0" destOrd="0" presId="urn:microsoft.com/office/officeart/2008/layout/VerticalAccentList"/>
    <dgm:cxn modelId="{8FC11570-4121-468F-84CC-1317DAE90084}" srcId="{FD3DB6FE-130F-4B68-90ED-6D10C919E344}" destId="{CBD0A9E5-7A45-4F42-8877-54CE9AE2A5CE}" srcOrd="0" destOrd="0" parTransId="{E40920A0-67FB-432E-90C6-92A0A23C8F51}" sibTransId="{46C25ADB-6C1A-42D7-B3EC-B4BA285EA8B2}"/>
    <dgm:cxn modelId="{58F5D0F2-2537-4F82-85B3-8FA5207E0B58}" type="presParOf" srcId="{1D9B425C-2F62-4234-BF52-C173A1F209F3}" destId="{76031BDB-0AE0-49CE-AB4D-9D5D615E264C}" srcOrd="0" destOrd="0" presId="urn:microsoft.com/office/officeart/2008/layout/VerticalAccentList"/>
    <dgm:cxn modelId="{9BF7B684-202E-4346-9AF6-82A92FBD1EA4}" type="presParOf" srcId="{76031BDB-0AE0-49CE-AB4D-9D5D615E264C}" destId="{B2A5D084-7BC6-4561-814F-2849CA63EA58}" srcOrd="0" destOrd="0" presId="urn:microsoft.com/office/officeart/2008/layout/VerticalAccentList"/>
    <dgm:cxn modelId="{4DB57979-E1DE-4E6D-9DB9-9E2D71B7A606}" type="presParOf" srcId="{1D9B425C-2F62-4234-BF52-C173A1F209F3}" destId="{1DCF8EB4-B65C-4AE0-8BDE-BA382145AC87}" srcOrd="1" destOrd="0" presId="urn:microsoft.com/office/officeart/2008/layout/VerticalAccentList"/>
    <dgm:cxn modelId="{5C6D577E-990F-430D-8303-CEBA87C22BF2}" type="presParOf" srcId="{1DCF8EB4-B65C-4AE0-8BDE-BA382145AC87}" destId="{E01FD87B-14DB-4D5E-8E57-399BE45FB165}" srcOrd="0" destOrd="0" presId="urn:microsoft.com/office/officeart/2008/layout/VerticalAccentList"/>
    <dgm:cxn modelId="{F035D2C6-5F22-4348-BE9A-EF1ADADE56B9}" type="presParOf" srcId="{1DCF8EB4-B65C-4AE0-8BDE-BA382145AC87}" destId="{23B7D716-4B36-4EE9-89A2-D0AAA1AB4764}" srcOrd="1" destOrd="0" presId="urn:microsoft.com/office/officeart/2008/layout/VerticalAccentList"/>
    <dgm:cxn modelId="{C9845D98-1B23-4DC3-B71A-F0040A1FCB62}" type="presParOf" srcId="{1DCF8EB4-B65C-4AE0-8BDE-BA382145AC87}" destId="{389B14CF-2380-4D0A-9AA3-0F66693437B7}" srcOrd="2" destOrd="0" presId="urn:microsoft.com/office/officeart/2008/layout/VerticalAccentList"/>
    <dgm:cxn modelId="{4306A30B-1954-4121-B1CB-E326A5CF7231}" type="presParOf" srcId="{1DCF8EB4-B65C-4AE0-8BDE-BA382145AC87}" destId="{98884B77-BF7B-4FC0-9D00-51B5F17EBF7D}" srcOrd="3" destOrd="0" presId="urn:microsoft.com/office/officeart/2008/layout/VerticalAccentList"/>
    <dgm:cxn modelId="{324A5802-E0FB-49CC-A31B-4265735BFF07}" type="presParOf" srcId="{1DCF8EB4-B65C-4AE0-8BDE-BA382145AC87}" destId="{46529FEF-28B8-4E34-9C54-CF1E9C9C412B}" srcOrd="4" destOrd="0" presId="urn:microsoft.com/office/officeart/2008/layout/VerticalAccentList"/>
    <dgm:cxn modelId="{BB179CDC-C1E3-493D-A5B3-F2C24830ECE5}" type="presParOf" srcId="{1DCF8EB4-B65C-4AE0-8BDE-BA382145AC87}" destId="{7BC95DA3-A843-4CA2-AC28-E5BDD76F656A}" srcOrd="5" destOrd="0" presId="urn:microsoft.com/office/officeart/2008/layout/VerticalAccentList"/>
    <dgm:cxn modelId="{DF70C146-CC50-4504-B59B-6E8BA6A51B70}" type="presParOf" srcId="{1DCF8EB4-B65C-4AE0-8BDE-BA382145AC87}" destId="{CAF6C7A1-CEDA-4597-AD5E-9591CF252A12}" srcOrd="6" destOrd="0" presId="urn:microsoft.com/office/officeart/2008/layout/VerticalAccentList"/>
    <dgm:cxn modelId="{A29220D4-D5C8-4B93-87C3-2D5CA302AA58}" type="presParOf" srcId="{1D9B425C-2F62-4234-BF52-C173A1F209F3}" destId="{4FAE2DE3-A553-4F6D-9146-46A3E2AF84FC}" srcOrd="2" destOrd="0" presId="urn:microsoft.com/office/officeart/2008/layout/VerticalAccentList"/>
    <dgm:cxn modelId="{F56DB515-5396-4CCA-9243-53D5AA31632A}" type="presParOf" srcId="{1D9B425C-2F62-4234-BF52-C173A1F209F3}" destId="{C5374C3D-AD25-4205-BA2F-6493B927FBD9}" srcOrd="3" destOrd="0" presId="urn:microsoft.com/office/officeart/2008/layout/VerticalAccentList"/>
    <dgm:cxn modelId="{5254969B-2C77-4E86-A4ED-E88A03E124E5}" type="presParOf" srcId="{C5374C3D-AD25-4205-BA2F-6493B927FBD9}" destId="{175BDB8A-8FE2-4A37-A307-C6C400CB4F5B}" srcOrd="0" destOrd="0" presId="urn:microsoft.com/office/officeart/2008/layout/VerticalAccentList"/>
    <dgm:cxn modelId="{0A826D1E-B399-4AF1-85D8-F2378606DF87}" type="presParOf" srcId="{1D9B425C-2F62-4234-BF52-C173A1F209F3}" destId="{44FFC94B-62B6-48F6-A008-8AABEAB5E4FE}" srcOrd="4" destOrd="0" presId="urn:microsoft.com/office/officeart/2008/layout/VerticalAccentList"/>
    <dgm:cxn modelId="{9403E251-0BAA-45CA-A1A5-EEAF8DBADA49}" type="presParOf" srcId="{44FFC94B-62B6-48F6-A008-8AABEAB5E4FE}" destId="{6394A1DD-BD92-40DC-BE42-398B5A565FF9}" srcOrd="0" destOrd="0" presId="urn:microsoft.com/office/officeart/2008/layout/VerticalAccentList"/>
    <dgm:cxn modelId="{60BF1052-F925-42C9-B1D4-ADCD68D80D7C}" type="presParOf" srcId="{44FFC94B-62B6-48F6-A008-8AABEAB5E4FE}" destId="{85F664BD-AA8C-46A2-AE24-F8FCFCA03B45}" srcOrd="1" destOrd="0" presId="urn:microsoft.com/office/officeart/2008/layout/VerticalAccentList"/>
    <dgm:cxn modelId="{6A997EDA-985E-427B-92F5-694A98C74B82}" type="presParOf" srcId="{44FFC94B-62B6-48F6-A008-8AABEAB5E4FE}" destId="{CEDCEDC3-D50E-4FF0-A8D8-012D8CE6059F}" srcOrd="2" destOrd="0" presId="urn:microsoft.com/office/officeart/2008/layout/VerticalAccentList"/>
    <dgm:cxn modelId="{DF23A21A-F725-4F09-B139-A1BA38E6085B}" type="presParOf" srcId="{44FFC94B-62B6-48F6-A008-8AABEAB5E4FE}" destId="{08253EC2-2DF2-4C05-857B-E6F486824CB2}" srcOrd="3" destOrd="0" presId="urn:microsoft.com/office/officeart/2008/layout/VerticalAccentList"/>
    <dgm:cxn modelId="{A997929F-0611-4166-A5F4-9416E00B21F6}" type="presParOf" srcId="{44FFC94B-62B6-48F6-A008-8AABEAB5E4FE}" destId="{12B6026B-9957-4B04-8EB6-17DBE4D7B42F}" srcOrd="4" destOrd="0" presId="urn:microsoft.com/office/officeart/2008/layout/VerticalAccentList"/>
    <dgm:cxn modelId="{8F63EC15-CCED-488A-BFDF-F81A4D241C8A}" type="presParOf" srcId="{44FFC94B-62B6-48F6-A008-8AABEAB5E4FE}" destId="{900B2300-46C2-459F-AF80-4902EDC8E1BC}" srcOrd="5" destOrd="0" presId="urn:microsoft.com/office/officeart/2008/layout/VerticalAccentList"/>
    <dgm:cxn modelId="{C65284AB-C163-4D3F-B9EE-7A8A5AE8215B}" type="presParOf" srcId="{44FFC94B-62B6-48F6-A008-8AABEAB5E4FE}" destId="{2AB7A73B-4FDF-467A-9F9D-A2F8BD42DF13}" srcOrd="6" destOrd="0" presId="urn:microsoft.com/office/officeart/2008/layout/VerticalAccentList"/>
    <dgm:cxn modelId="{4FFEE2EF-97D6-4ABD-BB82-996C0BD5A06C}" type="presParOf" srcId="{1D9B425C-2F62-4234-BF52-C173A1F209F3}" destId="{FC01A8C9-9411-46A6-8BAC-4F362C95DA3B}" srcOrd="5" destOrd="0" presId="urn:microsoft.com/office/officeart/2008/layout/VerticalAccentList"/>
    <dgm:cxn modelId="{0D060782-59CD-41C8-B28B-D9B0D8F133AB}" type="presParOf" srcId="{1D9B425C-2F62-4234-BF52-C173A1F209F3}" destId="{51130C27-4940-4C94-B61B-B13854A50F45}" srcOrd="6" destOrd="0" presId="urn:microsoft.com/office/officeart/2008/layout/VerticalAccentList"/>
    <dgm:cxn modelId="{BDBEE1DA-E06E-4199-ABEC-C7F0EF491B12}" type="presParOf" srcId="{51130C27-4940-4C94-B61B-B13854A50F45}" destId="{EB748BDC-6765-4BA8-AC5D-E654A94F3821}" srcOrd="0" destOrd="0" presId="urn:microsoft.com/office/officeart/2008/layout/VerticalAccentList"/>
    <dgm:cxn modelId="{1C6ECB17-5753-48CF-B61E-51622914C28B}" type="presParOf" srcId="{1D9B425C-2F62-4234-BF52-C173A1F209F3}" destId="{372CEF75-D3FC-4E52-89EE-7A6A39592DA8}" srcOrd="7" destOrd="0" presId="urn:microsoft.com/office/officeart/2008/layout/VerticalAccentList"/>
    <dgm:cxn modelId="{45EBBA22-BF62-4EF9-9679-1FD181E75F44}" type="presParOf" srcId="{372CEF75-D3FC-4E52-89EE-7A6A39592DA8}" destId="{B23D5DFF-277F-47EC-B766-254B7843A471}" srcOrd="0" destOrd="0" presId="urn:microsoft.com/office/officeart/2008/layout/VerticalAccentList"/>
    <dgm:cxn modelId="{CFF16008-92AC-49EA-BF44-322B309C2790}" type="presParOf" srcId="{372CEF75-D3FC-4E52-89EE-7A6A39592DA8}" destId="{5DC2C858-E7FD-454E-810F-3833E4F6A4FE}" srcOrd="1" destOrd="0" presId="urn:microsoft.com/office/officeart/2008/layout/VerticalAccentList"/>
    <dgm:cxn modelId="{04FBA6C6-4E0A-4D6F-85DB-7DB1A3224488}" type="presParOf" srcId="{372CEF75-D3FC-4E52-89EE-7A6A39592DA8}" destId="{D97A7113-372D-4E83-A998-04EBAEA17532}" srcOrd="2" destOrd="0" presId="urn:microsoft.com/office/officeart/2008/layout/VerticalAccentList"/>
    <dgm:cxn modelId="{9CEB55A8-31EC-49A3-85A6-FF0820FA6B14}" type="presParOf" srcId="{372CEF75-D3FC-4E52-89EE-7A6A39592DA8}" destId="{27F9115D-69E8-4929-A843-4DA0FF8D50EC}" srcOrd="3" destOrd="0" presId="urn:microsoft.com/office/officeart/2008/layout/VerticalAccentList"/>
    <dgm:cxn modelId="{53DFB408-4102-4B21-96EE-3316BF8C4038}" type="presParOf" srcId="{372CEF75-D3FC-4E52-89EE-7A6A39592DA8}" destId="{F4AD7304-F4B3-446A-B79E-0F71D30FD4BA}" srcOrd="4" destOrd="0" presId="urn:microsoft.com/office/officeart/2008/layout/VerticalAccentList"/>
    <dgm:cxn modelId="{F1C7F561-D043-4384-8848-79A6310B1392}" type="presParOf" srcId="{372CEF75-D3FC-4E52-89EE-7A6A39592DA8}" destId="{C744AF08-7521-4F1F-B869-FF9FD3CD437B}" srcOrd="5" destOrd="0" presId="urn:microsoft.com/office/officeart/2008/layout/VerticalAccentList"/>
    <dgm:cxn modelId="{9BAD6A2F-05B4-44FB-B672-F31B4F58A3D7}" type="presParOf" srcId="{372CEF75-D3FC-4E52-89EE-7A6A39592DA8}" destId="{024A51C2-27BD-452A-9848-98953F73DAEE}" srcOrd="6" destOrd="0" presId="urn:microsoft.com/office/officeart/2008/layout/VerticalAccentList"/>
    <dgm:cxn modelId="{56544298-1749-48C5-AF04-3E96422DF03C}" type="presParOf" srcId="{1D9B425C-2F62-4234-BF52-C173A1F209F3}" destId="{F8EBDEBF-11CE-4B5B-B8AC-565879422297}" srcOrd="8" destOrd="0" presId="urn:microsoft.com/office/officeart/2008/layout/VerticalAccentList"/>
    <dgm:cxn modelId="{4B3D4A2F-7877-412A-83AB-904197FAA875}" type="presParOf" srcId="{1D9B425C-2F62-4234-BF52-C173A1F209F3}" destId="{487C8EF6-3C51-47DD-9210-6B6268DAFE08}" srcOrd="9" destOrd="0" presId="urn:microsoft.com/office/officeart/2008/layout/VerticalAccentList"/>
    <dgm:cxn modelId="{DF696571-C285-470B-A125-AD46FED7194E}" type="presParOf" srcId="{487C8EF6-3C51-47DD-9210-6B6268DAFE08}" destId="{637E7FB8-1F73-4BDE-B97E-89EF340E6C79}" srcOrd="0" destOrd="0" presId="urn:microsoft.com/office/officeart/2008/layout/VerticalAccentList"/>
    <dgm:cxn modelId="{77DDFEB7-FAB7-4F4F-B3E1-3CF8A87F1986}" type="presParOf" srcId="{1D9B425C-2F62-4234-BF52-C173A1F209F3}" destId="{E557D83C-C5FF-48FE-9E55-A5D08BA62BC7}" srcOrd="10" destOrd="0" presId="urn:microsoft.com/office/officeart/2008/layout/VerticalAccentList"/>
    <dgm:cxn modelId="{C65CE80F-8998-4EFC-8829-D167B3772FF4}" type="presParOf" srcId="{E557D83C-C5FF-48FE-9E55-A5D08BA62BC7}" destId="{B17A0E64-2F7F-4410-AF9A-B2443DA355F4}" srcOrd="0" destOrd="0" presId="urn:microsoft.com/office/officeart/2008/layout/VerticalAccentList"/>
    <dgm:cxn modelId="{4BA5446E-0DC3-44EA-BFC5-0A3286AC4702}" type="presParOf" srcId="{E557D83C-C5FF-48FE-9E55-A5D08BA62BC7}" destId="{413060E6-1D08-4545-9833-86AB6BEA93AC}" srcOrd="1" destOrd="0" presId="urn:microsoft.com/office/officeart/2008/layout/VerticalAccentList"/>
    <dgm:cxn modelId="{7F4DADD2-3B6D-4EE2-AA59-090019DBD408}" type="presParOf" srcId="{E557D83C-C5FF-48FE-9E55-A5D08BA62BC7}" destId="{D811CAF1-D925-4558-9B45-C3FC838808B2}" srcOrd="2" destOrd="0" presId="urn:microsoft.com/office/officeart/2008/layout/VerticalAccentList"/>
    <dgm:cxn modelId="{D04C938A-6F32-4AF7-8050-7D1C1DC162DB}" type="presParOf" srcId="{E557D83C-C5FF-48FE-9E55-A5D08BA62BC7}" destId="{FF10008F-B4B1-4725-90D8-942B608B2ACF}" srcOrd="3" destOrd="0" presId="urn:microsoft.com/office/officeart/2008/layout/VerticalAccentList"/>
    <dgm:cxn modelId="{4B26983F-4CDB-4B86-A22A-6F55F9D44D9A}" type="presParOf" srcId="{E557D83C-C5FF-48FE-9E55-A5D08BA62BC7}" destId="{7D4C4818-708B-41F9-BCC5-3E5005F68C11}" srcOrd="4" destOrd="0" presId="urn:microsoft.com/office/officeart/2008/layout/VerticalAccentList"/>
    <dgm:cxn modelId="{46939440-0E73-410B-9836-5455ED8049B4}" type="presParOf" srcId="{E557D83C-C5FF-48FE-9E55-A5D08BA62BC7}" destId="{21F84DB7-3AD3-4912-B40E-F3BCFB916A9E}" srcOrd="5" destOrd="0" presId="urn:microsoft.com/office/officeart/2008/layout/VerticalAccentList"/>
    <dgm:cxn modelId="{E31417CC-EAF9-4A5A-A649-1F8B37E55AF6}" type="presParOf" srcId="{E557D83C-C5FF-48FE-9E55-A5D08BA62BC7}" destId="{0E854234-D552-4DE5-B8C9-E58F1279BE6C}" srcOrd="6" destOrd="0" presId="urn:microsoft.com/office/officeart/2008/layout/VerticalAccentList"/>
    <dgm:cxn modelId="{7AB0DB0C-3DD8-4763-B79D-2F5ABFDB1537}" type="presParOf" srcId="{1D9B425C-2F62-4234-BF52-C173A1F209F3}" destId="{CC55733C-98F1-4385-B72B-D50119EC3230}" srcOrd="11" destOrd="0" presId="urn:microsoft.com/office/officeart/2008/layout/VerticalAccentList"/>
    <dgm:cxn modelId="{6D046F48-A2D9-4AA4-9345-1D01622D7AA2}" type="presParOf" srcId="{1D9B425C-2F62-4234-BF52-C173A1F209F3}" destId="{6D21297B-F978-4972-B10F-CCBFB692DB02}" srcOrd="12" destOrd="0" presId="urn:microsoft.com/office/officeart/2008/layout/VerticalAccentList"/>
    <dgm:cxn modelId="{21C49268-FD7A-40EA-A0C3-15294778F338}" type="presParOf" srcId="{6D21297B-F978-4972-B10F-CCBFB692DB02}" destId="{17D4BBF9-86C1-46A1-85D7-AB4B9A08027F}" srcOrd="0" destOrd="0" presId="urn:microsoft.com/office/officeart/2008/layout/VerticalAccentList"/>
    <dgm:cxn modelId="{27F638BF-DAF0-4D52-BB69-0284F3020A9F}" type="presParOf" srcId="{1D9B425C-2F62-4234-BF52-C173A1F209F3}" destId="{7452449F-8BC6-4D72-8208-5D8429C78F74}" srcOrd="13" destOrd="0" presId="urn:microsoft.com/office/officeart/2008/layout/VerticalAccentList"/>
    <dgm:cxn modelId="{71FFA4DE-38B7-42C0-88BC-894982946654}" type="presParOf" srcId="{7452449F-8BC6-4D72-8208-5D8429C78F74}" destId="{60E5730D-A2B1-48CA-9C4D-510E4ED154CF}" srcOrd="0" destOrd="0" presId="urn:microsoft.com/office/officeart/2008/layout/VerticalAccentList"/>
    <dgm:cxn modelId="{92F39EEC-4372-4608-BD6B-53DB3D8C9CA3}" type="presParOf" srcId="{7452449F-8BC6-4D72-8208-5D8429C78F74}" destId="{42FBA239-A48A-4D33-8137-43BED3732530}" srcOrd="1" destOrd="0" presId="urn:microsoft.com/office/officeart/2008/layout/VerticalAccentList"/>
    <dgm:cxn modelId="{2AD59041-2934-4D21-8F21-53F91B07E93E}" type="presParOf" srcId="{7452449F-8BC6-4D72-8208-5D8429C78F74}" destId="{7505BDBC-4A05-4E21-8401-5F35D8230C76}" srcOrd="2" destOrd="0" presId="urn:microsoft.com/office/officeart/2008/layout/VerticalAccentList"/>
    <dgm:cxn modelId="{1EB795A5-C054-4594-A01B-53AB674B0686}" type="presParOf" srcId="{7452449F-8BC6-4D72-8208-5D8429C78F74}" destId="{EC8A6E6F-F4D7-4796-A54D-B5B7B7536E69}" srcOrd="3" destOrd="0" presId="urn:microsoft.com/office/officeart/2008/layout/VerticalAccentList"/>
    <dgm:cxn modelId="{0D74D2C5-D19B-4B68-9F30-3D6F3B905245}" type="presParOf" srcId="{7452449F-8BC6-4D72-8208-5D8429C78F74}" destId="{8F5DE1A5-521B-413F-9CBA-A7114D9DA3D6}" srcOrd="4" destOrd="0" presId="urn:microsoft.com/office/officeart/2008/layout/VerticalAccentList"/>
    <dgm:cxn modelId="{2845201E-4B02-47A0-9573-5952E02A7845}" type="presParOf" srcId="{7452449F-8BC6-4D72-8208-5D8429C78F74}" destId="{7909B03A-56A8-48CF-9B2C-16C4FA44F06E}" srcOrd="5" destOrd="0" presId="urn:microsoft.com/office/officeart/2008/layout/VerticalAccentList"/>
    <dgm:cxn modelId="{448972D9-B9B6-408C-8E82-9B9A80BECD37}" type="presParOf" srcId="{7452449F-8BC6-4D72-8208-5D8429C78F74}" destId="{686D40E1-18B8-4C7A-941A-8AB559BE591C}" srcOrd="6" destOrd="0" presId="urn:microsoft.com/office/officeart/2008/layout/VerticalAccentList"/>
    <dgm:cxn modelId="{3CE74205-6C18-4E91-A032-EB306A22570D}" type="presParOf" srcId="{1D9B425C-2F62-4234-BF52-C173A1F209F3}" destId="{14D1E1E5-51CA-4D9C-9F91-C83BE2F8E7E1}" srcOrd="14" destOrd="0" presId="urn:microsoft.com/office/officeart/2008/layout/VerticalAccentList"/>
    <dgm:cxn modelId="{55F8935D-CB1E-45AC-AEE2-38797494EB19}" type="presParOf" srcId="{1D9B425C-2F62-4234-BF52-C173A1F209F3}" destId="{D55F789E-EB13-4447-845B-F76F7E15D75A}" srcOrd="15" destOrd="0" presId="urn:microsoft.com/office/officeart/2008/layout/VerticalAccentList"/>
    <dgm:cxn modelId="{D3A6BFAF-72D3-4489-A436-2F85E1B5DECC}" type="presParOf" srcId="{D55F789E-EB13-4447-845B-F76F7E15D75A}" destId="{85F9AF49-0EE7-445A-B548-205E3112AE43}" srcOrd="0" destOrd="0" presId="urn:microsoft.com/office/officeart/2008/layout/VerticalAccentList"/>
    <dgm:cxn modelId="{90434CB8-D7AF-4562-8019-26A5EF7A8E5B}" type="presParOf" srcId="{1D9B425C-2F62-4234-BF52-C173A1F209F3}" destId="{0676308E-6B15-42EC-9F16-065835D80316}" srcOrd="16" destOrd="0" presId="urn:microsoft.com/office/officeart/2008/layout/VerticalAccentList"/>
    <dgm:cxn modelId="{5B2B28AD-C40D-4571-A3F5-B1DE13DF12B8}" type="presParOf" srcId="{0676308E-6B15-42EC-9F16-065835D80316}" destId="{71965718-DCD2-42AB-9610-F4A9ED8ECE8C}" srcOrd="0" destOrd="0" presId="urn:microsoft.com/office/officeart/2008/layout/VerticalAccentList"/>
    <dgm:cxn modelId="{45E048E4-1997-4BE2-A3C2-EDEE843C1E07}" type="presParOf" srcId="{0676308E-6B15-42EC-9F16-065835D80316}" destId="{BFDBA777-B381-4E6B-8AC4-01DD91CC0200}" srcOrd="1" destOrd="0" presId="urn:microsoft.com/office/officeart/2008/layout/VerticalAccentList"/>
    <dgm:cxn modelId="{6775788C-B2AD-482A-BEF9-26DB590075D8}" type="presParOf" srcId="{0676308E-6B15-42EC-9F16-065835D80316}" destId="{519CE54D-1C09-4815-9C51-749E83358774}" srcOrd="2" destOrd="0" presId="urn:microsoft.com/office/officeart/2008/layout/VerticalAccentList"/>
    <dgm:cxn modelId="{EA20F64E-BE15-4A70-B413-1FBFEBC95DE6}" type="presParOf" srcId="{0676308E-6B15-42EC-9F16-065835D80316}" destId="{4FC9FB50-BE5E-413E-9B3D-85556C2CBF4E}" srcOrd="3" destOrd="0" presId="urn:microsoft.com/office/officeart/2008/layout/VerticalAccentList"/>
    <dgm:cxn modelId="{ED5AE479-974D-4E47-9EEB-4843EDDC9034}" type="presParOf" srcId="{0676308E-6B15-42EC-9F16-065835D80316}" destId="{DAB12738-59B5-4974-8DF2-CE81F6E7DE99}" srcOrd="4" destOrd="0" presId="urn:microsoft.com/office/officeart/2008/layout/VerticalAccentList"/>
    <dgm:cxn modelId="{BCCECB24-8042-4D19-BCF4-FA4896140C40}" type="presParOf" srcId="{0676308E-6B15-42EC-9F16-065835D80316}" destId="{FA2BB8DE-E363-4940-8530-19AAC9154A7E}" srcOrd="5" destOrd="0" presId="urn:microsoft.com/office/officeart/2008/layout/VerticalAccentList"/>
    <dgm:cxn modelId="{921953CF-FC4C-4BD6-8CC8-E56F91E8D38C}" type="presParOf" srcId="{0676308E-6B15-42EC-9F16-065835D80316}" destId="{E2B6ACB9-1F60-44A4-A9EA-14F21F88A1A9}"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3DB6FE-130F-4B68-90ED-6D10C919E344}"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846D3E3A-6068-4BF1-9A16-488B9638913B}">
      <dgm:prSet phldrT="[Text]"/>
      <dgm:spPr/>
      <dgm:t>
        <a:bodyPr/>
        <a:lstStyle/>
        <a:p>
          <a:r>
            <a:rPr lang="en-US" dirty="0" smtClean="0">
              <a:solidFill>
                <a:schemeClr val="tx1"/>
              </a:solidFill>
              <a:effectLst/>
              <a:latin typeface="Arial" pitchFamily="34" charset="0"/>
              <a:ea typeface="+mn-ea"/>
              <a:cs typeface="Arial" pitchFamily="34" charset="0"/>
            </a:rPr>
            <a:t>Stable Networking with Kubernetes Services</a:t>
          </a:r>
          <a:endParaRPr lang="en-US" dirty="0"/>
        </a:p>
      </dgm:t>
    </dgm:pt>
    <dgm:pt modelId="{6189EDCF-6277-4EEA-8C3F-7BFF2B69147A}" type="parTrans" cxnId="{0518C964-B6F4-43DC-A214-75FBDA4E40C8}">
      <dgm:prSet/>
      <dgm:spPr/>
      <dgm:t>
        <a:bodyPr/>
        <a:lstStyle/>
        <a:p>
          <a:endParaRPr lang="en-US"/>
        </a:p>
      </dgm:t>
    </dgm:pt>
    <dgm:pt modelId="{23DBBA2F-6345-48BE-8E22-A613A852C49A}" type="sibTrans" cxnId="{0518C964-B6F4-43DC-A214-75FBDA4E40C8}">
      <dgm:prSet/>
      <dgm:spPr/>
      <dgm:t>
        <a:bodyPr/>
        <a:lstStyle/>
        <a:p>
          <a:endParaRPr lang="en-US"/>
        </a:p>
      </dgm:t>
    </dgm:pt>
    <dgm:pt modelId="{12BE5A0C-1CA4-49D5-8AEA-1658DD33DE84}">
      <dgm:prSet phldrT="[Text]"/>
      <dgm:spPr/>
      <dgm:t>
        <a:bodyPr/>
        <a:lstStyle/>
        <a:p>
          <a:r>
            <a:rPr lang="en-US" dirty="0" smtClean="0">
              <a:solidFill>
                <a:schemeClr val="tx1"/>
              </a:solidFill>
              <a:effectLst/>
              <a:latin typeface="Arial" pitchFamily="34" charset="0"/>
              <a:ea typeface="+mn-ea"/>
              <a:cs typeface="Arial" pitchFamily="34" charset="0"/>
            </a:rPr>
            <a:t>The Kubernetes API and API Server</a:t>
          </a:r>
          <a:endParaRPr lang="en-US" dirty="0"/>
        </a:p>
      </dgm:t>
    </dgm:pt>
    <dgm:pt modelId="{57F88ED4-97D6-4FF6-9D53-3D075C6E0B04}" type="parTrans" cxnId="{55299798-0593-4AC2-83D9-0E9070822CFB}">
      <dgm:prSet/>
      <dgm:spPr/>
      <dgm:t>
        <a:bodyPr/>
        <a:lstStyle/>
        <a:p>
          <a:endParaRPr lang="en-US"/>
        </a:p>
      </dgm:t>
    </dgm:pt>
    <dgm:pt modelId="{D9AB8287-B450-4702-9C91-0CA2C70FCCA1}" type="sibTrans" cxnId="{55299798-0593-4AC2-83D9-0E9070822CFB}">
      <dgm:prSet/>
      <dgm:spPr/>
      <dgm:t>
        <a:bodyPr/>
        <a:lstStyle/>
        <a:p>
          <a:endParaRPr lang="en-US"/>
        </a:p>
      </dgm:t>
    </dgm:pt>
    <dgm:pt modelId="{9C1216E0-6A49-49D9-B857-F309EE68F332}">
      <dgm:prSet phldrT="[Text]"/>
      <dgm:spPr/>
      <dgm:t>
        <a:bodyPr/>
        <a:lstStyle/>
        <a:p>
          <a:r>
            <a:rPr lang="en-US" dirty="0" smtClean="0">
              <a:solidFill>
                <a:schemeClr val="tx1"/>
              </a:solidFill>
              <a:effectLst/>
              <a:latin typeface="Arial" pitchFamily="34" charset="0"/>
              <a:ea typeface="+mn-ea"/>
              <a:cs typeface="Arial" pitchFamily="34" charset="0"/>
            </a:rPr>
            <a:t>Scheduler</a:t>
          </a:r>
          <a:endParaRPr lang="en-US" dirty="0"/>
        </a:p>
      </dgm:t>
    </dgm:pt>
    <dgm:pt modelId="{556D1A99-3BE0-4D29-AD51-E2FF70914BF3}" type="parTrans" cxnId="{3D756219-19F4-470F-AFCA-0ADEB2A93E58}">
      <dgm:prSet/>
      <dgm:spPr/>
      <dgm:t>
        <a:bodyPr/>
        <a:lstStyle/>
        <a:p>
          <a:endParaRPr lang="en-US"/>
        </a:p>
      </dgm:t>
    </dgm:pt>
    <dgm:pt modelId="{AE3DDF08-B5D7-41D8-9B15-2C152A456625}" type="sibTrans" cxnId="{3D756219-19F4-470F-AFCA-0ADEB2A93E58}">
      <dgm:prSet/>
      <dgm:spPr/>
      <dgm:t>
        <a:bodyPr/>
        <a:lstStyle/>
        <a:p>
          <a:endParaRPr lang="en-US"/>
        </a:p>
      </dgm:t>
    </dgm:pt>
    <dgm:pt modelId="{CBD0A9E5-7A45-4F42-8877-54CE9AE2A5CE}">
      <dgm:prSet phldrT="[Text]"/>
      <dgm:spPr/>
      <dgm:t>
        <a:bodyPr/>
        <a:lstStyle/>
        <a:p>
          <a:r>
            <a:rPr lang="en-US" dirty="0" smtClean="0">
              <a:solidFill>
                <a:schemeClr val="tx1"/>
              </a:solidFill>
              <a:effectLst/>
              <a:latin typeface="Arial" pitchFamily="34" charset="0"/>
              <a:ea typeface="+mn-ea"/>
              <a:cs typeface="Arial" pitchFamily="34" charset="0"/>
            </a:rPr>
            <a:t>Game Changing Deployments</a:t>
          </a:r>
          <a:endParaRPr lang="en-US" dirty="0"/>
        </a:p>
      </dgm:t>
    </dgm:pt>
    <dgm:pt modelId="{E40920A0-67FB-432E-90C6-92A0A23C8F51}" type="parTrans" cxnId="{8FC11570-4121-468F-84CC-1317DAE90084}">
      <dgm:prSet/>
      <dgm:spPr/>
      <dgm:t>
        <a:bodyPr/>
        <a:lstStyle/>
        <a:p>
          <a:endParaRPr lang="en-US"/>
        </a:p>
      </dgm:t>
    </dgm:pt>
    <dgm:pt modelId="{46C25ADB-6C1A-42D7-B3EC-B4BA285EA8B2}" type="sibTrans" cxnId="{8FC11570-4121-468F-84CC-1317DAE90084}">
      <dgm:prSet/>
      <dgm:spPr/>
      <dgm:t>
        <a:bodyPr/>
        <a:lstStyle/>
        <a:p>
          <a:endParaRPr lang="en-US"/>
        </a:p>
      </dgm:t>
    </dgm:pt>
    <dgm:pt modelId="{B7ECB5C9-3ABC-414D-B204-64896C88B953}">
      <dgm:prSet phldrT="[Text]"/>
      <dgm:spPr/>
      <dgm:t>
        <a:bodyPr/>
        <a:lstStyle/>
        <a:p>
          <a:r>
            <a:rPr lang="en-US" dirty="0" smtClean="0">
              <a:solidFill>
                <a:schemeClr val="tx1"/>
              </a:solidFill>
              <a:effectLst/>
              <a:latin typeface="Arial" pitchFamily="34" charset="0"/>
              <a:ea typeface="+mn-ea"/>
              <a:cs typeface="Arial" pitchFamily="34" charset="0"/>
            </a:rPr>
            <a:t>Controller Manager</a:t>
          </a:r>
          <a:endParaRPr lang="en-US" dirty="0"/>
        </a:p>
      </dgm:t>
    </dgm:pt>
    <dgm:pt modelId="{4E5788D6-BFD2-427C-8174-1BB31C475152}" type="parTrans" cxnId="{BDB27C84-3C97-431C-A137-26F8C204F9AC}">
      <dgm:prSet/>
      <dgm:spPr/>
      <dgm:t>
        <a:bodyPr/>
        <a:lstStyle/>
        <a:p>
          <a:endParaRPr lang="en-US"/>
        </a:p>
      </dgm:t>
    </dgm:pt>
    <dgm:pt modelId="{03E60FBB-443A-4717-946A-005A85D13344}" type="sibTrans" cxnId="{BDB27C84-3C97-431C-A137-26F8C204F9AC}">
      <dgm:prSet/>
      <dgm:spPr/>
      <dgm:t>
        <a:bodyPr/>
        <a:lstStyle/>
        <a:p>
          <a:endParaRPr lang="en-US"/>
        </a:p>
      </dgm:t>
    </dgm:pt>
    <dgm:pt modelId="{D1BA4AF2-D04C-4CD3-BC39-1DA648AC7223}">
      <dgm:prSet phldrT="[Text]"/>
      <dgm:spPr/>
      <dgm:t>
        <a:bodyPr/>
        <a:lstStyle/>
        <a:p>
          <a:r>
            <a:rPr lang="en-US" dirty="0" smtClean="0">
              <a:solidFill>
                <a:schemeClr val="tx1"/>
              </a:solidFill>
              <a:effectLst/>
              <a:latin typeface="Arial" pitchFamily="34" charset="0"/>
              <a:ea typeface="+mn-ea"/>
              <a:cs typeface="Arial" pitchFamily="34" charset="0"/>
            </a:rPr>
            <a:t>etcd - the cluster brain</a:t>
          </a:r>
          <a:endParaRPr lang="en-US" dirty="0"/>
        </a:p>
      </dgm:t>
    </dgm:pt>
    <dgm:pt modelId="{6C14D868-462C-4CD2-89FE-7201FD8B068B}" type="parTrans" cxnId="{BDD6AFBA-54C9-4B6A-9E0C-190FE7F94038}">
      <dgm:prSet/>
      <dgm:spPr/>
      <dgm:t>
        <a:bodyPr/>
        <a:lstStyle/>
        <a:p>
          <a:endParaRPr lang="en-US"/>
        </a:p>
      </dgm:t>
    </dgm:pt>
    <dgm:pt modelId="{F6E4119A-DAB6-4B59-8D44-68926D2A5233}" type="sibTrans" cxnId="{BDD6AFBA-54C9-4B6A-9E0C-190FE7F94038}">
      <dgm:prSet/>
      <dgm:spPr/>
      <dgm:t>
        <a:bodyPr/>
        <a:lstStyle/>
        <a:p>
          <a:endParaRPr lang="en-US"/>
        </a:p>
      </dgm:t>
    </dgm:pt>
    <dgm:pt modelId="{1D9B425C-2F62-4234-BF52-C173A1F209F3}" type="pres">
      <dgm:prSet presAssocID="{FD3DB6FE-130F-4B68-90ED-6D10C919E344}" presName="Name0" presStyleCnt="0">
        <dgm:presLayoutVars>
          <dgm:chMax/>
          <dgm:chPref/>
          <dgm:dir/>
        </dgm:presLayoutVars>
      </dgm:prSet>
      <dgm:spPr/>
      <dgm:t>
        <a:bodyPr/>
        <a:lstStyle/>
        <a:p>
          <a:endParaRPr lang="en-US"/>
        </a:p>
      </dgm:t>
    </dgm:pt>
    <dgm:pt modelId="{FFB5BF43-93F9-4B20-9454-CCAB04976144}" type="pres">
      <dgm:prSet presAssocID="{846D3E3A-6068-4BF1-9A16-488B9638913B}" presName="parenttextcomposite" presStyleCnt="0"/>
      <dgm:spPr/>
    </dgm:pt>
    <dgm:pt modelId="{65656358-D990-414A-A2AA-6808AD41F3CF}" type="pres">
      <dgm:prSet presAssocID="{846D3E3A-6068-4BF1-9A16-488B9638913B}" presName="parenttext" presStyleLbl="revTx" presStyleIdx="0" presStyleCnt="6">
        <dgm:presLayoutVars>
          <dgm:chMax/>
          <dgm:chPref val="2"/>
          <dgm:bulletEnabled val="1"/>
        </dgm:presLayoutVars>
      </dgm:prSet>
      <dgm:spPr/>
      <dgm:t>
        <a:bodyPr/>
        <a:lstStyle/>
        <a:p>
          <a:endParaRPr lang="en-US"/>
        </a:p>
      </dgm:t>
    </dgm:pt>
    <dgm:pt modelId="{0114A427-52B9-4043-9AD8-F155F9CA695B}" type="pres">
      <dgm:prSet presAssocID="{846D3E3A-6068-4BF1-9A16-488B9638913B}" presName="parallelogramComposite" presStyleCnt="0"/>
      <dgm:spPr/>
    </dgm:pt>
    <dgm:pt modelId="{73EE8E2D-6812-40FB-AAE5-CE9CDC54C68B}" type="pres">
      <dgm:prSet presAssocID="{846D3E3A-6068-4BF1-9A16-488B9638913B}" presName="parallelogram1" presStyleLbl="alignNode1" presStyleIdx="0" presStyleCnt="42"/>
      <dgm:spPr/>
    </dgm:pt>
    <dgm:pt modelId="{68435188-FFC6-4458-9920-18C48127181C}" type="pres">
      <dgm:prSet presAssocID="{846D3E3A-6068-4BF1-9A16-488B9638913B}" presName="parallelogram2" presStyleLbl="alignNode1" presStyleIdx="1" presStyleCnt="42"/>
      <dgm:spPr/>
    </dgm:pt>
    <dgm:pt modelId="{93016C47-552A-4EAC-91E4-1D5442C86F5B}" type="pres">
      <dgm:prSet presAssocID="{846D3E3A-6068-4BF1-9A16-488B9638913B}" presName="parallelogram3" presStyleLbl="alignNode1" presStyleIdx="2" presStyleCnt="42"/>
      <dgm:spPr/>
    </dgm:pt>
    <dgm:pt modelId="{D1DCAEA6-20DB-459D-8638-2095852E5087}" type="pres">
      <dgm:prSet presAssocID="{846D3E3A-6068-4BF1-9A16-488B9638913B}" presName="parallelogram4" presStyleLbl="alignNode1" presStyleIdx="3" presStyleCnt="42"/>
      <dgm:spPr/>
    </dgm:pt>
    <dgm:pt modelId="{FF2134F3-43D3-4FB7-B7AD-27D514D796D0}" type="pres">
      <dgm:prSet presAssocID="{846D3E3A-6068-4BF1-9A16-488B9638913B}" presName="parallelogram5" presStyleLbl="alignNode1" presStyleIdx="4" presStyleCnt="42"/>
      <dgm:spPr/>
    </dgm:pt>
    <dgm:pt modelId="{D8D13CB1-BCDF-4B2F-927A-42061F45252D}" type="pres">
      <dgm:prSet presAssocID="{846D3E3A-6068-4BF1-9A16-488B9638913B}" presName="parallelogram6" presStyleLbl="alignNode1" presStyleIdx="5" presStyleCnt="42"/>
      <dgm:spPr/>
    </dgm:pt>
    <dgm:pt modelId="{C9A25E16-7DF4-498C-B0BE-E53C4594E1A5}" type="pres">
      <dgm:prSet presAssocID="{846D3E3A-6068-4BF1-9A16-488B9638913B}" presName="parallelogram7" presStyleLbl="alignNode1" presStyleIdx="6" presStyleCnt="42"/>
      <dgm:spPr/>
    </dgm:pt>
    <dgm:pt modelId="{A4CB07BE-AFD2-4E6D-86EE-38E4E26FE9DE}" type="pres">
      <dgm:prSet presAssocID="{23DBBA2F-6345-48BE-8E22-A613A852C49A}" presName="sibTrans" presStyleCnt="0"/>
      <dgm:spPr/>
    </dgm:pt>
    <dgm:pt modelId="{76031BDB-0AE0-49CE-AB4D-9D5D615E264C}" type="pres">
      <dgm:prSet presAssocID="{CBD0A9E5-7A45-4F42-8877-54CE9AE2A5CE}" presName="parenttextcomposite" presStyleCnt="0"/>
      <dgm:spPr/>
    </dgm:pt>
    <dgm:pt modelId="{B2A5D084-7BC6-4561-814F-2849CA63EA58}" type="pres">
      <dgm:prSet presAssocID="{CBD0A9E5-7A45-4F42-8877-54CE9AE2A5CE}" presName="parenttext" presStyleLbl="revTx" presStyleIdx="1" presStyleCnt="6">
        <dgm:presLayoutVars>
          <dgm:chMax/>
          <dgm:chPref val="2"/>
          <dgm:bulletEnabled val="1"/>
        </dgm:presLayoutVars>
      </dgm:prSet>
      <dgm:spPr/>
      <dgm:t>
        <a:bodyPr/>
        <a:lstStyle/>
        <a:p>
          <a:endParaRPr lang="en-US"/>
        </a:p>
      </dgm:t>
    </dgm:pt>
    <dgm:pt modelId="{1DCF8EB4-B65C-4AE0-8BDE-BA382145AC87}" type="pres">
      <dgm:prSet presAssocID="{CBD0A9E5-7A45-4F42-8877-54CE9AE2A5CE}" presName="parallelogramComposite" presStyleCnt="0"/>
      <dgm:spPr/>
    </dgm:pt>
    <dgm:pt modelId="{E01FD87B-14DB-4D5E-8E57-399BE45FB165}" type="pres">
      <dgm:prSet presAssocID="{CBD0A9E5-7A45-4F42-8877-54CE9AE2A5CE}" presName="parallelogram1" presStyleLbl="alignNode1" presStyleIdx="7" presStyleCnt="42"/>
      <dgm:spPr/>
    </dgm:pt>
    <dgm:pt modelId="{23B7D716-4B36-4EE9-89A2-D0AAA1AB4764}" type="pres">
      <dgm:prSet presAssocID="{CBD0A9E5-7A45-4F42-8877-54CE9AE2A5CE}" presName="parallelogram2" presStyleLbl="alignNode1" presStyleIdx="8" presStyleCnt="42"/>
      <dgm:spPr/>
    </dgm:pt>
    <dgm:pt modelId="{389B14CF-2380-4D0A-9AA3-0F66693437B7}" type="pres">
      <dgm:prSet presAssocID="{CBD0A9E5-7A45-4F42-8877-54CE9AE2A5CE}" presName="parallelogram3" presStyleLbl="alignNode1" presStyleIdx="9" presStyleCnt="42"/>
      <dgm:spPr/>
    </dgm:pt>
    <dgm:pt modelId="{98884B77-BF7B-4FC0-9D00-51B5F17EBF7D}" type="pres">
      <dgm:prSet presAssocID="{CBD0A9E5-7A45-4F42-8877-54CE9AE2A5CE}" presName="parallelogram4" presStyleLbl="alignNode1" presStyleIdx="10" presStyleCnt="42"/>
      <dgm:spPr/>
    </dgm:pt>
    <dgm:pt modelId="{46529FEF-28B8-4E34-9C54-CF1E9C9C412B}" type="pres">
      <dgm:prSet presAssocID="{CBD0A9E5-7A45-4F42-8877-54CE9AE2A5CE}" presName="parallelogram5" presStyleLbl="alignNode1" presStyleIdx="11" presStyleCnt="42"/>
      <dgm:spPr/>
    </dgm:pt>
    <dgm:pt modelId="{7BC95DA3-A843-4CA2-AC28-E5BDD76F656A}" type="pres">
      <dgm:prSet presAssocID="{CBD0A9E5-7A45-4F42-8877-54CE9AE2A5CE}" presName="parallelogram6" presStyleLbl="alignNode1" presStyleIdx="12" presStyleCnt="42"/>
      <dgm:spPr/>
    </dgm:pt>
    <dgm:pt modelId="{CAF6C7A1-CEDA-4597-AD5E-9591CF252A12}" type="pres">
      <dgm:prSet presAssocID="{CBD0A9E5-7A45-4F42-8877-54CE9AE2A5CE}" presName="parallelogram7" presStyleLbl="alignNode1" presStyleIdx="13" presStyleCnt="42"/>
      <dgm:spPr/>
    </dgm:pt>
    <dgm:pt modelId="{4FAE2DE3-A553-4F6D-9146-46A3E2AF84FC}" type="pres">
      <dgm:prSet presAssocID="{46C25ADB-6C1A-42D7-B3EC-B4BA285EA8B2}" presName="sibTrans" presStyleCnt="0"/>
      <dgm:spPr/>
    </dgm:pt>
    <dgm:pt modelId="{51130C27-4940-4C94-B61B-B13854A50F45}" type="pres">
      <dgm:prSet presAssocID="{12BE5A0C-1CA4-49D5-8AEA-1658DD33DE84}" presName="parenttextcomposite" presStyleCnt="0"/>
      <dgm:spPr/>
    </dgm:pt>
    <dgm:pt modelId="{EB748BDC-6765-4BA8-AC5D-E654A94F3821}" type="pres">
      <dgm:prSet presAssocID="{12BE5A0C-1CA4-49D5-8AEA-1658DD33DE84}" presName="parenttext" presStyleLbl="revTx" presStyleIdx="2" presStyleCnt="6">
        <dgm:presLayoutVars>
          <dgm:chMax/>
          <dgm:chPref val="2"/>
          <dgm:bulletEnabled val="1"/>
        </dgm:presLayoutVars>
      </dgm:prSet>
      <dgm:spPr/>
      <dgm:t>
        <a:bodyPr/>
        <a:lstStyle/>
        <a:p>
          <a:endParaRPr lang="en-US"/>
        </a:p>
      </dgm:t>
    </dgm:pt>
    <dgm:pt modelId="{372CEF75-D3FC-4E52-89EE-7A6A39592DA8}" type="pres">
      <dgm:prSet presAssocID="{12BE5A0C-1CA4-49D5-8AEA-1658DD33DE84}" presName="parallelogramComposite" presStyleCnt="0"/>
      <dgm:spPr/>
    </dgm:pt>
    <dgm:pt modelId="{B23D5DFF-277F-47EC-B766-254B7843A471}" type="pres">
      <dgm:prSet presAssocID="{12BE5A0C-1CA4-49D5-8AEA-1658DD33DE84}" presName="parallelogram1" presStyleLbl="alignNode1" presStyleIdx="14" presStyleCnt="42"/>
      <dgm:spPr/>
    </dgm:pt>
    <dgm:pt modelId="{5DC2C858-E7FD-454E-810F-3833E4F6A4FE}" type="pres">
      <dgm:prSet presAssocID="{12BE5A0C-1CA4-49D5-8AEA-1658DD33DE84}" presName="parallelogram2" presStyleLbl="alignNode1" presStyleIdx="15" presStyleCnt="42"/>
      <dgm:spPr/>
    </dgm:pt>
    <dgm:pt modelId="{D97A7113-372D-4E83-A998-04EBAEA17532}" type="pres">
      <dgm:prSet presAssocID="{12BE5A0C-1CA4-49D5-8AEA-1658DD33DE84}" presName="parallelogram3" presStyleLbl="alignNode1" presStyleIdx="16" presStyleCnt="42"/>
      <dgm:spPr/>
    </dgm:pt>
    <dgm:pt modelId="{27F9115D-69E8-4929-A843-4DA0FF8D50EC}" type="pres">
      <dgm:prSet presAssocID="{12BE5A0C-1CA4-49D5-8AEA-1658DD33DE84}" presName="parallelogram4" presStyleLbl="alignNode1" presStyleIdx="17" presStyleCnt="42"/>
      <dgm:spPr/>
    </dgm:pt>
    <dgm:pt modelId="{F4AD7304-F4B3-446A-B79E-0F71D30FD4BA}" type="pres">
      <dgm:prSet presAssocID="{12BE5A0C-1CA4-49D5-8AEA-1658DD33DE84}" presName="parallelogram5" presStyleLbl="alignNode1" presStyleIdx="18" presStyleCnt="42"/>
      <dgm:spPr/>
    </dgm:pt>
    <dgm:pt modelId="{C744AF08-7521-4F1F-B869-FF9FD3CD437B}" type="pres">
      <dgm:prSet presAssocID="{12BE5A0C-1CA4-49D5-8AEA-1658DD33DE84}" presName="parallelogram6" presStyleLbl="alignNode1" presStyleIdx="19" presStyleCnt="42"/>
      <dgm:spPr/>
    </dgm:pt>
    <dgm:pt modelId="{024A51C2-27BD-452A-9848-98953F73DAEE}" type="pres">
      <dgm:prSet presAssocID="{12BE5A0C-1CA4-49D5-8AEA-1658DD33DE84}" presName="parallelogram7" presStyleLbl="alignNode1" presStyleIdx="20" presStyleCnt="42"/>
      <dgm:spPr/>
    </dgm:pt>
    <dgm:pt modelId="{F8EBDEBF-11CE-4B5B-B8AC-565879422297}" type="pres">
      <dgm:prSet presAssocID="{D9AB8287-B450-4702-9C91-0CA2C70FCCA1}" presName="sibTrans" presStyleCnt="0"/>
      <dgm:spPr/>
    </dgm:pt>
    <dgm:pt modelId="{487C8EF6-3C51-47DD-9210-6B6268DAFE08}" type="pres">
      <dgm:prSet presAssocID="{9C1216E0-6A49-49D9-B857-F309EE68F332}" presName="parenttextcomposite" presStyleCnt="0"/>
      <dgm:spPr/>
    </dgm:pt>
    <dgm:pt modelId="{637E7FB8-1F73-4BDE-B97E-89EF340E6C79}" type="pres">
      <dgm:prSet presAssocID="{9C1216E0-6A49-49D9-B857-F309EE68F332}" presName="parenttext" presStyleLbl="revTx" presStyleIdx="3" presStyleCnt="6">
        <dgm:presLayoutVars>
          <dgm:chMax/>
          <dgm:chPref val="2"/>
          <dgm:bulletEnabled val="1"/>
        </dgm:presLayoutVars>
      </dgm:prSet>
      <dgm:spPr/>
      <dgm:t>
        <a:bodyPr/>
        <a:lstStyle/>
        <a:p>
          <a:endParaRPr lang="en-US"/>
        </a:p>
      </dgm:t>
    </dgm:pt>
    <dgm:pt modelId="{E557D83C-C5FF-48FE-9E55-A5D08BA62BC7}" type="pres">
      <dgm:prSet presAssocID="{9C1216E0-6A49-49D9-B857-F309EE68F332}" presName="parallelogramComposite" presStyleCnt="0"/>
      <dgm:spPr/>
    </dgm:pt>
    <dgm:pt modelId="{B17A0E64-2F7F-4410-AF9A-B2443DA355F4}" type="pres">
      <dgm:prSet presAssocID="{9C1216E0-6A49-49D9-B857-F309EE68F332}" presName="parallelogram1" presStyleLbl="alignNode1" presStyleIdx="21" presStyleCnt="42"/>
      <dgm:spPr/>
    </dgm:pt>
    <dgm:pt modelId="{413060E6-1D08-4545-9833-86AB6BEA93AC}" type="pres">
      <dgm:prSet presAssocID="{9C1216E0-6A49-49D9-B857-F309EE68F332}" presName="parallelogram2" presStyleLbl="alignNode1" presStyleIdx="22" presStyleCnt="42"/>
      <dgm:spPr/>
    </dgm:pt>
    <dgm:pt modelId="{D811CAF1-D925-4558-9B45-C3FC838808B2}" type="pres">
      <dgm:prSet presAssocID="{9C1216E0-6A49-49D9-B857-F309EE68F332}" presName="parallelogram3" presStyleLbl="alignNode1" presStyleIdx="23" presStyleCnt="42"/>
      <dgm:spPr/>
    </dgm:pt>
    <dgm:pt modelId="{FF10008F-B4B1-4725-90D8-942B608B2ACF}" type="pres">
      <dgm:prSet presAssocID="{9C1216E0-6A49-49D9-B857-F309EE68F332}" presName="parallelogram4" presStyleLbl="alignNode1" presStyleIdx="24" presStyleCnt="42"/>
      <dgm:spPr/>
    </dgm:pt>
    <dgm:pt modelId="{7D4C4818-708B-41F9-BCC5-3E5005F68C11}" type="pres">
      <dgm:prSet presAssocID="{9C1216E0-6A49-49D9-B857-F309EE68F332}" presName="parallelogram5" presStyleLbl="alignNode1" presStyleIdx="25" presStyleCnt="42"/>
      <dgm:spPr/>
    </dgm:pt>
    <dgm:pt modelId="{21F84DB7-3AD3-4912-B40E-F3BCFB916A9E}" type="pres">
      <dgm:prSet presAssocID="{9C1216E0-6A49-49D9-B857-F309EE68F332}" presName="parallelogram6" presStyleLbl="alignNode1" presStyleIdx="26" presStyleCnt="42"/>
      <dgm:spPr/>
    </dgm:pt>
    <dgm:pt modelId="{0E854234-D552-4DE5-B8C9-E58F1279BE6C}" type="pres">
      <dgm:prSet presAssocID="{9C1216E0-6A49-49D9-B857-F309EE68F332}" presName="parallelogram7" presStyleLbl="alignNode1" presStyleIdx="27" presStyleCnt="42"/>
      <dgm:spPr/>
    </dgm:pt>
    <dgm:pt modelId="{CC55733C-98F1-4385-B72B-D50119EC3230}" type="pres">
      <dgm:prSet presAssocID="{AE3DDF08-B5D7-41D8-9B15-2C152A456625}" presName="sibTrans" presStyleCnt="0"/>
      <dgm:spPr/>
    </dgm:pt>
    <dgm:pt modelId="{974155F4-FC27-4292-9B50-8EC40168E49B}" type="pres">
      <dgm:prSet presAssocID="{B7ECB5C9-3ABC-414D-B204-64896C88B953}" presName="parenttextcomposite" presStyleCnt="0"/>
      <dgm:spPr/>
    </dgm:pt>
    <dgm:pt modelId="{CAFEF2A5-8C22-489A-AFC9-B299E7858259}" type="pres">
      <dgm:prSet presAssocID="{B7ECB5C9-3ABC-414D-B204-64896C88B953}" presName="parenttext" presStyleLbl="revTx" presStyleIdx="4" presStyleCnt="6">
        <dgm:presLayoutVars>
          <dgm:chMax/>
          <dgm:chPref val="2"/>
          <dgm:bulletEnabled val="1"/>
        </dgm:presLayoutVars>
      </dgm:prSet>
      <dgm:spPr/>
      <dgm:t>
        <a:bodyPr/>
        <a:lstStyle/>
        <a:p>
          <a:endParaRPr lang="en-US"/>
        </a:p>
      </dgm:t>
    </dgm:pt>
    <dgm:pt modelId="{0E08E2FC-1AE4-4A98-BC2D-B4A07A01C94F}" type="pres">
      <dgm:prSet presAssocID="{B7ECB5C9-3ABC-414D-B204-64896C88B953}" presName="parallelogramComposite" presStyleCnt="0"/>
      <dgm:spPr/>
    </dgm:pt>
    <dgm:pt modelId="{7C1BAF8C-7C61-4904-A1CB-4F7EBEBD148F}" type="pres">
      <dgm:prSet presAssocID="{B7ECB5C9-3ABC-414D-B204-64896C88B953}" presName="parallelogram1" presStyleLbl="alignNode1" presStyleIdx="28" presStyleCnt="42"/>
      <dgm:spPr/>
    </dgm:pt>
    <dgm:pt modelId="{F7378F01-4977-4699-901A-DCC418FE836A}" type="pres">
      <dgm:prSet presAssocID="{B7ECB5C9-3ABC-414D-B204-64896C88B953}" presName="parallelogram2" presStyleLbl="alignNode1" presStyleIdx="29" presStyleCnt="42"/>
      <dgm:spPr/>
    </dgm:pt>
    <dgm:pt modelId="{C3F1B0A3-52A8-44CE-91F1-AA33ADE1D63B}" type="pres">
      <dgm:prSet presAssocID="{B7ECB5C9-3ABC-414D-B204-64896C88B953}" presName="parallelogram3" presStyleLbl="alignNode1" presStyleIdx="30" presStyleCnt="42"/>
      <dgm:spPr/>
    </dgm:pt>
    <dgm:pt modelId="{0A458437-E16B-4FA7-A607-E195AAA522DE}" type="pres">
      <dgm:prSet presAssocID="{B7ECB5C9-3ABC-414D-B204-64896C88B953}" presName="parallelogram4" presStyleLbl="alignNode1" presStyleIdx="31" presStyleCnt="42"/>
      <dgm:spPr/>
    </dgm:pt>
    <dgm:pt modelId="{1F3071A9-5E3D-4C45-A591-D64B2052514D}" type="pres">
      <dgm:prSet presAssocID="{B7ECB5C9-3ABC-414D-B204-64896C88B953}" presName="parallelogram5" presStyleLbl="alignNode1" presStyleIdx="32" presStyleCnt="42"/>
      <dgm:spPr/>
    </dgm:pt>
    <dgm:pt modelId="{1CA5F382-E1C8-4C93-9FF7-4B8843E5AB35}" type="pres">
      <dgm:prSet presAssocID="{B7ECB5C9-3ABC-414D-B204-64896C88B953}" presName="parallelogram6" presStyleLbl="alignNode1" presStyleIdx="33" presStyleCnt="42"/>
      <dgm:spPr/>
    </dgm:pt>
    <dgm:pt modelId="{544F91EE-3659-4890-A42F-A8390AA14599}" type="pres">
      <dgm:prSet presAssocID="{B7ECB5C9-3ABC-414D-B204-64896C88B953}" presName="parallelogram7" presStyleLbl="alignNode1" presStyleIdx="34" presStyleCnt="42"/>
      <dgm:spPr/>
    </dgm:pt>
    <dgm:pt modelId="{D9EED694-B4CC-4981-9BE7-8AD437DD9047}" type="pres">
      <dgm:prSet presAssocID="{03E60FBB-443A-4717-946A-005A85D13344}" presName="sibTrans" presStyleCnt="0"/>
      <dgm:spPr/>
    </dgm:pt>
    <dgm:pt modelId="{6D21297B-F978-4972-B10F-CCBFB692DB02}" type="pres">
      <dgm:prSet presAssocID="{D1BA4AF2-D04C-4CD3-BC39-1DA648AC7223}" presName="parenttextcomposite" presStyleCnt="0"/>
      <dgm:spPr/>
    </dgm:pt>
    <dgm:pt modelId="{17D4BBF9-86C1-46A1-85D7-AB4B9A08027F}" type="pres">
      <dgm:prSet presAssocID="{D1BA4AF2-D04C-4CD3-BC39-1DA648AC7223}" presName="parenttext" presStyleLbl="revTx" presStyleIdx="5" presStyleCnt="6">
        <dgm:presLayoutVars>
          <dgm:chMax/>
          <dgm:chPref val="2"/>
          <dgm:bulletEnabled val="1"/>
        </dgm:presLayoutVars>
      </dgm:prSet>
      <dgm:spPr/>
      <dgm:t>
        <a:bodyPr/>
        <a:lstStyle/>
        <a:p>
          <a:endParaRPr lang="en-US"/>
        </a:p>
      </dgm:t>
    </dgm:pt>
    <dgm:pt modelId="{7452449F-8BC6-4D72-8208-5D8429C78F74}" type="pres">
      <dgm:prSet presAssocID="{D1BA4AF2-D04C-4CD3-BC39-1DA648AC7223}" presName="parallelogramComposite" presStyleCnt="0"/>
      <dgm:spPr/>
    </dgm:pt>
    <dgm:pt modelId="{60E5730D-A2B1-48CA-9C4D-510E4ED154CF}" type="pres">
      <dgm:prSet presAssocID="{D1BA4AF2-D04C-4CD3-BC39-1DA648AC7223}" presName="parallelogram1" presStyleLbl="alignNode1" presStyleIdx="35" presStyleCnt="42"/>
      <dgm:spPr/>
    </dgm:pt>
    <dgm:pt modelId="{42FBA239-A48A-4D33-8137-43BED3732530}" type="pres">
      <dgm:prSet presAssocID="{D1BA4AF2-D04C-4CD3-BC39-1DA648AC7223}" presName="parallelogram2" presStyleLbl="alignNode1" presStyleIdx="36" presStyleCnt="42"/>
      <dgm:spPr/>
    </dgm:pt>
    <dgm:pt modelId="{7505BDBC-4A05-4E21-8401-5F35D8230C76}" type="pres">
      <dgm:prSet presAssocID="{D1BA4AF2-D04C-4CD3-BC39-1DA648AC7223}" presName="parallelogram3" presStyleLbl="alignNode1" presStyleIdx="37" presStyleCnt="42"/>
      <dgm:spPr/>
    </dgm:pt>
    <dgm:pt modelId="{EC8A6E6F-F4D7-4796-A54D-B5B7B7536E69}" type="pres">
      <dgm:prSet presAssocID="{D1BA4AF2-D04C-4CD3-BC39-1DA648AC7223}" presName="parallelogram4" presStyleLbl="alignNode1" presStyleIdx="38" presStyleCnt="42"/>
      <dgm:spPr/>
    </dgm:pt>
    <dgm:pt modelId="{8F5DE1A5-521B-413F-9CBA-A7114D9DA3D6}" type="pres">
      <dgm:prSet presAssocID="{D1BA4AF2-D04C-4CD3-BC39-1DA648AC7223}" presName="parallelogram5" presStyleLbl="alignNode1" presStyleIdx="39" presStyleCnt="42"/>
      <dgm:spPr/>
    </dgm:pt>
    <dgm:pt modelId="{7909B03A-56A8-48CF-9B2C-16C4FA44F06E}" type="pres">
      <dgm:prSet presAssocID="{D1BA4AF2-D04C-4CD3-BC39-1DA648AC7223}" presName="parallelogram6" presStyleLbl="alignNode1" presStyleIdx="40" presStyleCnt="42"/>
      <dgm:spPr/>
    </dgm:pt>
    <dgm:pt modelId="{686D40E1-18B8-4C7A-941A-8AB559BE591C}" type="pres">
      <dgm:prSet presAssocID="{D1BA4AF2-D04C-4CD3-BC39-1DA648AC7223}" presName="parallelogram7" presStyleLbl="alignNode1" presStyleIdx="41" presStyleCnt="42"/>
      <dgm:spPr/>
    </dgm:pt>
  </dgm:ptLst>
  <dgm:cxnLst>
    <dgm:cxn modelId="{5BF3880C-A6BC-40CA-BAEB-8E62B8D88E4E}" type="presOf" srcId="{9C1216E0-6A49-49D9-B857-F309EE68F332}" destId="{637E7FB8-1F73-4BDE-B97E-89EF340E6C79}" srcOrd="0" destOrd="0" presId="urn:microsoft.com/office/officeart/2008/layout/VerticalAccentList"/>
    <dgm:cxn modelId="{BDB27C84-3C97-431C-A137-26F8C204F9AC}" srcId="{FD3DB6FE-130F-4B68-90ED-6D10C919E344}" destId="{B7ECB5C9-3ABC-414D-B204-64896C88B953}" srcOrd="4" destOrd="0" parTransId="{4E5788D6-BFD2-427C-8174-1BB31C475152}" sibTransId="{03E60FBB-443A-4717-946A-005A85D13344}"/>
    <dgm:cxn modelId="{BDD6AFBA-54C9-4B6A-9E0C-190FE7F94038}" srcId="{FD3DB6FE-130F-4B68-90ED-6D10C919E344}" destId="{D1BA4AF2-D04C-4CD3-BC39-1DA648AC7223}" srcOrd="5" destOrd="0" parTransId="{6C14D868-462C-4CD2-89FE-7201FD8B068B}" sibTransId="{F6E4119A-DAB6-4B59-8D44-68926D2A5233}"/>
    <dgm:cxn modelId="{E7D6B5E4-D26D-4893-8BAE-C0ECE8D0B0D4}" type="presOf" srcId="{CBD0A9E5-7A45-4F42-8877-54CE9AE2A5CE}" destId="{B2A5D084-7BC6-4561-814F-2849CA63EA58}" srcOrd="0" destOrd="0" presId="urn:microsoft.com/office/officeart/2008/layout/VerticalAccentList"/>
    <dgm:cxn modelId="{E63B76B0-FBB9-4948-AEF7-AA957995BBC9}" type="presOf" srcId="{B7ECB5C9-3ABC-414D-B204-64896C88B953}" destId="{CAFEF2A5-8C22-489A-AFC9-B299E7858259}" srcOrd="0" destOrd="0" presId="urn:microsoft.com/office/officeart/2008/layout/VerticalAccentList"/>
    <dgm:cxn modelId="{CBAB40A5-8C0C-46E6-8908-6F545756DACD}" type="presOf" srcId="{FD3DB6FE-130F-4B68-90ED-6D10C919E344}" destId="{1D9B425C-2F62-4234-BF52-C173A1F209F3}" srcOrd="0" destOrd="0" presId="urn:microsoft.com/office/officeart/2008/layout/VerticalAccentList"/>
    <dgm:cxn modelId="{47740911-47B6-43E2-A9E2-69EC2FBA87C0}" type="presOf" srcId="{12BE5A0C-1CA4-49D5-8AEA-1658DD33DE84}" destId="{EB748BDC-6765-4BA8-AC5D-E654A94F3821}" srcOrd="0" destOrd="0" presId="urn:microsoft.com/office/officeart/2008/layout/VerticalAccentList"/>
    <dgm:cxn modelId="{0518C964-B6F4-43DC-A214-75FBDA4E40C8}" srcId="{FD3DB6FE-130F-4B68-90ED-6D10C919E344}" destId="{846D3E3A-6068-4BF1-9A16-488B9638913B}" srcOrd="0" destOrd="0" parTransId="{6189EDCF-6277-4EEA-8C3F-7BFF2B69147A}" sibTransId="{23DBBA2F-6345-48BE-8E22-A613A852C49A}"/>
    <dgm:cxn modelId="{55299798-0593-4AC2-83D9-0E9070822CFB}" srcId="{FD3DB6FE-130F-4B68-90ED-6D10C919E344}" destId="{12BE5A0C-1CA4-49D5-8AEA-1658DD33DE84}" srcOrd="2" destOrd="0" parTransId="{57F88ED4-97D6-4FF6-9D53-3D075C6E0B04}" sibTransId="{D9AB8287-B450-4702-9C91-0CA2C70FCCA1}"/>
    <dgm:cxn modelId="{079DF44A-A7A2-48B1-BAB3-874D4D066A9E}" type="presOf" srcId="{846D3E3A-6068-4BF1-9A16-488B9638913B}" destId="{65656358-D990-414A-A2AA-6808AD41F3CF}" srcOrd="0" destOrd="0" presId="urn:microsoft.com/office/officeart/2008/layout/VerticalAccentList"/>
    <dgm:cxn modelId="{3D756219-19F4-470F-AFCA-0ADEB2A93E58}" srcId="{FD3DB6FE-130F-4B68-90ED-6D10C919E344}" destId="{9C1216E0-6A49-49D9-B857-F309EE68F332}" srcOrd="3" destOrd="0" parTransId="{556D1A99-3BE0-4D29-AD51-E2FF70914BF3}" sibTransId="{AE3DDF08-B5D7-41D8-9B15-2C152A456625}"/>
    <dgm:cxn modelId="{080A4904-A035-477B-BDCF-C2E877D64942}" type="presOf" srcId="{D1BA4AF2-D04C-4CD3-BC39-1DA648AC7223}" destId="{17D4BBF9-86C1-46A1-85D7-AB4B9A08027F}" srcOrd="0" destOrd="0" presId="urn:microsoft.com/office/officeart/2008/layout/VerticalAccentList"/>
    <dgm:cxn modelId="{8FC11570-4121-468F-84CC-1317DAE90084}" srcId="{FD3DB6FE-130F-4B68-90ED-6D10C919E344}" destId="{CBD0A9E5-7A45-4F42-8877-54CE9AE2A5CE}" srcOrd="1" destOrd="0" parTransId="{E40920A0-67FB-432E-90C6-92A0A23C8F51}" sibTransId="{46C25ADB-6C1A-42D7-B3EC-B4BA285EA8B2}"/>
    <dgm:cxn modelId="{FFCB8BFB-B0F8-4844-A33F-19BA63631FF0}" type="presParOf" srcId="{1D9B425C-2F62-4234-BF52-C173A1F209F3}" destId="{FFB5BF43-93F9-4B20-9454-CCAB04976144}" srcOrd="0" destOrd="0" presId="urn:microsoft.com/office/officeart/2008/layout/VerticalAccentList"/>
    <dgm:cxn modelId="{DAEE042C-D352-4039-B3DF-D63BE974BC22}" type="presParOf" srcId="{FFB5BF43-93F9-4B20-9454-CCAB04976144}" destId="{65656358-D990-414A-A2AA-6808AD41F3CF}" srcOrd="0" destOrd="0" presId="urn:microsoft.com/office/officeart/2008/layout/VerticalAccentList"/>
    <dgm:cxn modelId="{2DC9D430-7D41-44CC-9085-A8517BD065D2}" type="presParOf" srcId="{1D9B425C-2F62-4234-BF52-C173A1F209F3}" destId="{0114A427-52B9-4043-9AD8-F155F9CA695B}" srcOrd="1" destOrd="0" presId="urn:microsoft.com/office/officeart/2008/layout/VerticalAccentList"/>
    <dgm:cxn modelId="{DF08DDC0-F48D-4253-90CD-4DE4B8EE5FFC}" type="presParOf" srcId="{0114A427-52B9-4043-9AD8-F155F9CA695B}" destId="{73EE8E2D-6812-40FB-AAE5-CE9CDC54C68B}" srcOrd="0" destOrd="0" presId="urn:microsoft.com/office/officeart/2008/layout/VerticalAccentList"/>
    <dgm:cxn modelId="{AE1D764F-DB1E-464C-A80D-620F3EDF37E4}" type="presParOf" srcId="{0114A427-52B9-4043-9AD8-F155F9CA695B}" destId="{68435188-FFC6-4458-9920-18C48127181C}" srcOrd="1" destOrd="0" presId="urn:microsoft.com/office/officeart/2008/layout/VerticalAccentList"/>
    <dgm:cxn modelId="{9BA8FD7A-BD3B-4BC6-A6EB-BA99578BA245}" type="presParOf" srcId="{0114A427-52B9-4043-9AD8-F155F9CA695B}" destId="{93016C47-552A-4EAC-91E4-1D5442C86F5B}" srcOrd="2" destOrd="0" presId="urn:microsoft.com/office/officeart/2008/layout/VerticalAccentList"/>
    <dgm:cxn modelId="{31E06274-4AC5-4151-A41B-179925D1F3A4}" type="presParOf" srcId="{0114A427-52B9-4043-9AD8-F155F9CA695B}" destId="{D1DCAEA6-20DB-459D-8638-2095852E5087}" srcOrd="3" destOrd="0" presId="urn:microsoft.com/office/officeart/2008/layout/VerticalAccentList"/>
    <dgm:cxn modelId="{0CD14A55-04EC-4388-9FD1-384E35F90151}" type="presParOf" srcId="{0114A427-52B9-4043-9AD8-F155F9CA695B}" destId="{FF2134F3-43D3-4FB7-B7AD-27D514D796D0}" srcOrd="4" destOrd="0" presId="urn:microsoft.com/office/officeart/2008/layout/VerticalAccentList"/>
    <dgm:cxn modelId="{3759A691-68E5-4A35-B2EF-9F5EDD3029E4}" type="presParOf" srcId="{0114A427-52B9-4043-9AD8-F155F9CA695B}" destId="{D8D13CB1-BCDF-4B2F-927A-42061F45252D}" srcOrd="5" destOrd="0" presId="urn:microsoft.com/office/officeart/2008/layout/VerticalAccentList"/>
    <dgm:cxn modelId="{8F15A2AE-C263-4743-83CC-7E148009E6D8}" type="presParOf" srcId="{0114A427-52B9-4043-9AD8-F155F9CA695B}" destId="{C9A25E16-7DF4-498C-B0BE-E53C4594E1A5}" srcOrd="6" destOrd="0" presId="urn:microsoft.com/office/officeart/2008/layout/VerticalAccentList"/>
    <dgm:cxn modelId="{6E177FD3-8BB8-46AC-A7C4-BDE66A67C7A2}" type="presParOf" srcId="{1D9B425C-2F62-4234-BF52-C173A1F209F3}" destId="{A4CB07BE-AFD2-4E6D-86EE-38E4E26FE9DE}" srcOrd="2" destOrd="0" presId="urn:microsoft.com/office/officeart/2008/layout/VerticalAccentList"/>
    <dgm:cxn modelId="{58F5D0F2-2537-4F82-85B3-8FA5207E0B58}" type="presParOf" srcId="{1D9B425C-2F62-4234-BF52-C173A1F209F3}" destId="{76031BDB-0AE0-49CE-AB4D-9D5D615E264C}" srcOrd="3" destOrd="0" presId="urn:microsoft.com/office/officeart/2008/layout/VerticalAccentList"/>
    <dgm:cxn modelId="{9BF7B684-202E-4346-9AF6-82A92FBD1EA4}" type="presParOf" srcId="{76031BDB-0AE0-49CE-AB4D-9D5D615E264C}" destId="{B2A5D084-7BC6-4561-814F-2849CA63EA58}" srcOrd="0" destOrd="0" presId="urn:microsoft.com/office/officeart/2008/layout/VerticalAccentList"/>
    <dgm:cxn modelId="{4DB57979-E1DE-4E6D-9DB9-9E2D71B7A606}" type="presParOf" srcId="{1D9B425C-2F62-4234-BF52-C173A1F209F3}" destId="{1DCF8EB4-B65C-4AE0-8BDE-BA382145AC87}" srcOrd="4" destOrd="0" presId="urn:microsoft.com/office/officeart/2008/layout/VerticalAccentList"/>
    <dgm:cxn modelId="{5C6D577E-990F-430D-8303-CEBA87C22BF2}" type="presParOf" srcId="{1DCF8EB4-B65C-4AE0-8BDE-BA382145AC87}" destId="{E01FD87B-14DB-4D5E-8E57-399BE45FB165}" srcOrd="0" destOrd="0" presId="urn:microsoft.com/office/officeart/2008/layout/VerticalAccentList"/>
    <dgm:cxn modelId="{F035D2C6-5F22-4348-BE9A-EF1ADADE56B9}" type="presParOf" srcId="{1DCF8EB4-B65C-4AE0-8BDE-BA382145AC87}" destId="{23B7D716-4B36-4EE9-89A2-D0AAA1AB4764}" srcOrd="1" destOrd="0" presId="urn:microsoft.com/office/officeart/2008/layout/VerticalAccentList"/>
    <dgm:cxn modelId="{C9845D98-1B23-4DC3-B71A-F0040A1FCB62}" type="presParOf" srcId="{1DCF8EB4-B65C-4AE0-8BDE-BA382145AC87}" destId="{389B14CF-2380-4D0A-9AA3-0F66693437B7}" srcOrd="2" destOrd="0" presId="urn:microsoft.com/office/officeart/2008/layout/VerticalAccentList"/>
    <dgm:cxn modelId="{4306A30B-1954-4121-B1CB-E326A5CF7231}" type="presParOf" srcId="{1DCF8EB4-B65C-4AE0-8BDE-BA382145AC87}" destId="{98884B77-BF7B-4FC0-9D00-51B5F17EBF7D}" srcOrd="3" destOrd="0" presId="urn:microsoft.com/office/officeart/2008/layout/VerticalAccentList"/>
    <dgm:cxn modelId="{324A5802-E0FB-49CC-A31B-4265735BFF07}" type="presParOf" srcId="{1DCF8EB4-B65C-4AE0-8BDE-BA382145AC87}" destId="{46529FEF-28B8-4E34-9C54-CF1E9C9C412B}" srcOrd="4" destOrd="0" presId="urn:microsoft.com/office/officeart/2008/layout/VerticalAccentList"/>
    <dgm:cxn modelId="{BB179CDC-C1E3-493D-A5B3-F2C24830ECE5}" type="presParOf" srcId="{1DCF8EB4-B65C-4AE0-8BDE-BA382145AC87}" destId="{7BC95DA3-A843-4CA2-AC28-E5BDD76F656A}" srcOrd="5" destOrd="0" presId="urn:microsoft.com/office/officeart/2008/layout/VerticalAccentList"/>
    <dgm:cxn modelId="{DF70C146-CC50-4504-B59B-6E8BA6A51B70}" type="presParOf" srcId="{1DCF8EB4-B65C-4AE0-8BDE-BA382145AC87}" destId="{CAF6C7A1-CEDA-4597-AD5E-9591CF252A12}" srcOrd="6" destOrd="0" presId="urn:microsoft.com/office/officeart/2008/layout/VerticalAccentList"/>
    <dgm:cxn modelId="{A29220D4-D5C8-4B93-87C3-2D5CA302AA58}" type="presParOf" srcId="{1D9B425C-2F62-4234-BF52-C173A1F209F3}" destId="{4FAE2DE3-A553-4F6D-9146-46A3E2AF84FC}" srcOrd="5" destOrd="0" presId="urn:microsoft.com/office/officeart/2008/layout/VerticalAccentList"/>
    <dgm:cxn modelId="{0D060782-59CD-41C8-B28B-D9B0D8F133AB}" type="presParOf" srcId="{1D9B425C-2F62-4234-BF52-C173A1F209F3}" destId="{51130C27-4940-4C94-B61B-B13854A50F45}" srcOrd="6" destOrd="0" presId="urn:microsoft.com/office/officeart/2008/layout/VerticalAccentList"/>
    <dgm:cxn modelId="{BDBEE1DA-E06E-4199-ABEC-C7F0EF491B12}" type="presParOf" srcId="{51130C27-4940-4C94-B61B-B13854A50F45}" destId="{EB748BDC-6765-4BA8-AC5D-E654A94F3821}" srcOrd="0" destOrd="0" presId="urn:microsoft.com/office/officeart/2008/layout/VerticalAccentList"/>
    <dgm:cxn modelId="{1C6ECB17-5753-48CF-B61E-51622914C28B}" type="presParOf" srcId="{1D9B425C-2F62-4234-BF52-C173A1F209F3}" destId="{372CEF75-D3FC-4E52-89EE-7A6A39592DA8}" srcOrd="7" destOrd="0" presId="urn:microsoft.com/office/officeart/2008/layout/VerticalAccentList"/>
    <dgm:cxn modelId="{45EBBA22-BF62-4EF9-9679-1FD181E75F44}" type="presParOf" srcId="{372CEF75-D3FC-4E52-89EE-7A6A39592DA8}" destId="{B23D5DFF-277F-47EC-B766-254B7843A471}" srcOrd="0" destOrd="0" presId="urn:microsoft.com/office/officeart/2008/layout/VerticalAccentList"/>
    <dgm:cxn modelId="{CFF16008-92AC-49EA-BF44-322B309C2790}" type="presParOf" srcId="{372CEF75-D3FC-4E52-89EE-7A6A39592DA8}" destId="{5DC2C858-E7FD-454E-810F-3833E4F6A4FE}" srcOrd="1" destOrd="0" presId="urn:microsoft.com/office/officeart/2008/layout/VerticalAccentList"/>
    <dgm:cxn modelId="{04FBA6C6-4E0A-4D6F-85DB-7DB1A3224488}" type="presParOf" srcId="{372CEF75-D3FC-4E52-89EE-7A6A39592DA8}" destId="{D97A7113-372D-4E83-A998-04EBAEA17532}" srcOrd="2" destOrd="0" presId="urn:microsoft.com/office/officeart/2008/layout/VerticalAccentList"/>
    <dgm:cxn modelId="{9CEB55A8-31EC-49A3-85A6-FF0820FA6B14}" type="presParOf" srcId="{372CEF75-D3FC-4E52-89EE-7A6A39592DA8}" destId="{27F9115D-69E8-4929-A843-4DA0FF8D50EC}" srcOrd="3" destOrd="0" presId="urn:microsoft.com/office/officeart/2008/layout/VerticalAccentList"/>
    <dgm:cxn modelId="{53DFB408-4102-4B21-96EE-3316BF8C4038}" type="presParOf" srcId="{372CEF75-D3FC-4E52-89EE-7A6A39592DA8}" destId="{F4AD7304-F4B3-446A-B79E-0F71D30FD4BA}" srcOrd="4" destOrd="0" presId="urn:microsoft.com/office/officeart/2008/layout/VerticalAccentList"/>
    <dgm:cxn modelId="{F1C7F561-D043-4384-8848-79A6310B1392}" type="presParOf" srcId="{372CEF75-D3FC-4E52-89EE-7A6A39592DA8}" destId="{C744AF08-7521-4F1F-B869-FF9FD3CD437B}" srcOrd="5" destOrd="0" presId="urn:microsoft.com/office/officeart/2008/layout/VerticalAccentList"/>
    <dgm:cxn modelId="{9BAD6A2F-05B4-44FB-B672-F31B4F58A3D7}" type="presParOf" srcId="{372CEF75-D3FC-4E52-89EE-7A6A39592DA8}" destId="{024A51C2-27BD-452A-9848-98953F73DAEE}" srcOrd="6" destOrd="0" presId="urn:microsoft.com/office/officeart/2008/layout/VerticalAccentList"/>
    <dgm:cxn modelId="{56544298-1749-48C5-AF04-3E96422DF03C}" type="presParOf" srcId="{1D9B425C-2F62-4234-BF52-C173A1F209F3}" destId="{F8EBDEBF-11CE-4B5B-B8AC-565879422297}" srcOrd="8" destOrd="0" presId="urn:microsoft.com/office/officeart/2008/layout/VerticalAccentList"/>
    <dgm:cxn modelId="{4B3D4A2F-7877-412A-83AB-904197FAA875}" type="presParOf" srcId="{1D9B425C-2F62-4234-BF52-C173A1F209F3}" destId="{487C8EF6-3C51-47DD-9210-6B6268DAFE08}" srcOrd="9" destOrd="0" presId="urn:microsoft.com/office/officeart/2008/layout/VerticalAccentList"/>
    <dgm:cxn modelId="{DF696571-C285-470B-A125-AD46FED7194E}" type="presParOf" srcId="{487C8EF6-3C51-47DD-9210-6B6268DAFE08}" destId="{637E7FB8-1F73-4BDE-B97E-89EF340E6C79}" srcOrd="0" destOrd="0" presId="urn:microsoft.com/office/officeart/2008/layout/VerticalAccentList"/>
    <dgm:cxn modelId="{77DDFEB7-FAB7-4F4F-B3E1-3CF8A87F1986}" type="presParOf" srcId="{1D9B425C-2F62-4234-BF52-C173A1F209F3}" destId="{E557D83C-C5FF-48FE-9E55-A5D08BA62BC7}" srcOrd="10" destOrd="0" presId="urn:microsoft.com/office/officeart/2008/layout/VerticalAccentList"/>
    <dgm:cxn modelId="{C65CE80F-8998-4EFC-8829-D167B3772FF4}" type="presParOf" srcId="{E557D83C-C5FF-48FE-9E55-A5D08BA62BC7}" destId="{B17A0E64-2F7F-4410-AF9A-B2443DA355F4}" srcOrd="0" destOrd="0" presId="urn:microsoft.com/office/officeart/2008/layout/VerticalAccentList"/>
    <dgm:cxn modelId="{4BA5446E-0DC3-44EA-BFC5-0A3286AC4702}" type="presParOf" srcId="{E557D83C-C5FF-48FE-9E55-A5D08BA62BC7}" destId="{413060E6-1D08-4545-9833-86AB6BEA93AC}" srcOrd="1" destOrd="0" presId="urn:microsoft.com/office/officeart/2008/layout/VerticalAccentList"/>
    <dgm:cxn modelId="{7F4DADD2-3B6D-4EE2-AA59-090019DBD408}" type="presParOf" srcId="{E557D83C-C5FF-48FE-9E55-A5D08BA62BC7}" destId="{D811CAF1-D925-4558-9B45-C3FC838808B2}" srcOrd="2" destOrd="0" presId="urn:microsoft.com/office/officeart/2008/layout/VerticalAccentList"/>
    <dgm:cxn modelId="{D04C938A-6F32-4AF7-8050-7D1C1DC162DB}" type="presParOf" srcId="{E557D83C-C5FF-48FE-9E55-A5D08BA62BC7}" destId="{FF10008F-B4B1-4725-90D8-942B608B2ACF}" srcOrd="3" destOrd="0" presId="urn:microsoft.com/office/officeart/2008/layout/VerticalAccentList"/>
    <dgm:cxn modelId="{4B26983F-4CDB-4B86-A22A-6F55F9D44D9A}" type="presParOf" srcId="{E557D83C-C5FF-48FE-9E55-A5D08BA62BC7}" destId="{7D4C4818-708B-41F9-BCC5-3E5005F68C11}" srcOrd="4" destOrd="0" presId="urn:microsoft.com/office/officeart/2008/layout/VerticalAccentList"/>
    <dgm:cxn modelId="{46939440-0E73-410B-9836-5455ED8049B4}" type="presParOf" srcId="{E557D83C-C5FF-48FE-9E55-A5D08BA62BC7}" destId="{21F84DB7-3AD3-4912-B40E-F3BCFB916A9E}" srcOrd="5" destOrd="0" presId="urn:microsoft.com/office/officeart/2008/layout/VerticalAccentList"/>
    <dgm:cxn modelId="{E31417CC-EAF9-4A5A-A649-1F8B37E55AF6}" type="presParOf" srcId="{E557D83C-C5FF-48FE-9E55-A5D08BA62BC7}" destId="{0E854234-D552-4DE5-B8C9-E58F1279BE6C}" srcOrd="6" destOrd="0" presId="urn:microsoft.com/office/officeart/2008/layout/VerticalAccentList"/>
    <dgm:cxn modelId="{7AB0DB0C-3DD8-4763-B79D-2F5ABFDB1537}" type="presParOf" srcId="{1D9B425C-2F62-4234-BF52-C173A1F209F3}" destId="{CC55733C-98F1-4385-B72B-D50119EC3230}" srcOrd="11" destOrd="0" presId="urn:microsoft.com/office/officeart/2008/layout/VerticalAccentList"/>
    <dgm:cxn modelId="{70CDB9D7-749B-4C7B-8120-3EB7ABF5F488}" type="presParOf" srcId="{1D9B425C-2F62-4234-BF52-C173A1F209F3}" destId="{974155F4-FC27-4292-9B50-8EC40168E49B}" srcOrd="12" destOrd="0" presId="urn:microsoft.com/office/officeart/2008/layout/VerticalAccentList"/>
    <dgm:cxn modelId="{6E7F418E-C2CD-4DB4-8DD7-F08AB3FDF6CD}" type="presParOf" srcId="{974155F4-FC27-4292-9B50-8EC40168E49B}" destId="{CAFEF2A5-8C22-489A-AFC9-B299E7858259}" srcOrd="0" destOrd="0" presId="urn:microsoft.com/office/officeart/2008/layout/VerticalAccentList"/>
    <dgm:cxn modelId="{DA14B475-312E-46B0-868D-1F7D35C5E443}" type="presParOf" srcId="{1D9B425C-2F62-4234-BF52-C173A1F209F3}" destId="{0E08E2FC-1AE4-4A98-BC2D-B4A07A01C94F}" srcOrd="13" destOrd="0" presId="urn:microsoft.com/office/officeart/2008/layout/VerticalAccentList"/>
    <dgm:cxn modelId="{AD3088C6-A373-40A4-8E90-E3A66B9066B3}" type="presParOf" srcId="{0E08E2FC-1AE4-4A98-BC2D-B4A07A01C94F}" destId="{7C1BAF8C-7C61-4904-A1CB-4F7EBEBD148F}" srcOrd="0" destOrd="0" presId="urn:microsoft.com/office/officeart/2008/layout/VerticalAccentList"/>
    <dgm:cxn modelId="{1DE1FF1F-39CC-4C6B-8F61-BD29367CB586}" type="presParOf" srcId="{0E08E2FC-1AE4-4A98-BC2D-B4A07A01C94F}" destId="{F7378F01-4977-4699-901A-DCC418FE836A}" srcOrd="1" destOrd="0" presId="urn:microsoft.com/office/officeart/2008/layout/VerticalAccentList"/>
    <dgm:cxn modelId="{C3DC8BF4-212A-4AF6-BD27-9DFD98D8F60D}" type="presParOf" srcId="{0E08E2FC-1AE4-4A98-BC2D-B4A07A01C94F}" destId="{C3F1B0A3-52A8-44CE-91F1-AA33ADE1D63B}" srcOrd="2" destOrd="0" presId="urn:microsoft.com/office/officeart/2008/layout/VerticalAccentList"/>
    <dgm:cxn modelId="{078669B2-0FF8-4AB2-90ED-E2A4D7D9129C}" type="presParOf" srcId="{0E08E2FC-1AE4-4A98-BC2D-B4A07A01C94F}" destId="{0A458437-E16B-4FA7-A607-E195AAA522DE}" srcOrd="3" destOrd="0" presId="urn:microsoft.com/office/officeart/2008/layout/VerticalAccentList"/>
    <dgm:cxn modelId="{A380378A-0DD8-41BE-AE7A-974002C58A03}" type="presParOf" srcId="{0E08E2FC-1AE4-4A98-BC2D-B4A07A01C94F}" destId="{1F3071A9-5E3D-4C45-A591-D64B2052514D}" srcOrd="4" destOrd="0" presId="urn:microsoft.com/office/officeart/2008/layout/VerticalAccentList"/>
    <dgm:cxn modelId="{9A29D05F-4F4B-4357-B5BD-534C1FC098EA}" type="presParOf" srcId="{0E08E2FC-1AE4-4A98-BC2D-B4A07A01C94F}" destId="{1CA5F382-E1C8-4C93-9FF7-4B8843E5AB35}" srcOrd="5" destOrd="0" presId="urn:microsoft.com/office/officeart/2008/layout/VerticalAccentList"/>
    <dgm:cxn modelId="{EBD404A9-DEFB-4469-971F-08A37353C0BD}" type="presParOf" srcId="{0E08E2FC-1AE4-4A98-BC2D-B4A07A01C94F}" destId="{544F91EE-3659-4890-A42F-A8390AA14599}" srcOrd="6" destOrd="0" presId="urn:microsoft.com/office/officeart/2008/layout/VerticalAccentList"/>
    <dgm:cxn modelId="{A3E41B94-5655-4607-8CE7-ECFE97A82157}" type="presParOf" srcId="{1D9B425C-2F62-4234-BF52-C173A1F209F3}" destId="{D9EED694-B4CC-4981-9BE7-8AD437DD9047}" srcOrd="14" destOrd="0" presId="urn:microsoft.com/office/officeart/2008/layout/VerticalAccentList"/>
    <dgm:cxn modelId="{6D046F48-A2D9-4AA4-9345-1D01622D7AA2}" type="presParOf" srcId="{1D9B425C-2F62-4234-BF52-C173A1F209F3}" destId="{6D21297B-F978-4972-B10F-CCBFB692DB02}" srcOrd="15" destOrd="0" presId="urn:microsoft.com/office/officeart/2008/layout/VerticalAccentList"/>
    <dgm:cxn modelId="{21C49268-FD7A-40EA-A0C3-15294778F338}" type="presParOf" srcId="{6D21297B-F978-4972-B10F-CCBFB692DB02}" destId="{17D4BBF9-86C1-46A1-85D7-AB4B9A08027F}" srcOrd="0" destOrd="0" presId="urn:microsoft.com/office/officeart/2008/layout/VerticalAccentList"/>
    <dgm:cxn modelId="{27F638BF-DAF0-4D52-BB69-0284F3020A9F}" type="presParOf" srcId="{1D9B425C-2F62-4234-BF52-C173A1F209F3}" destId="{7452449F-8BC6-4D72-8208-5D8429C78F74}" srcOrd="16" destOrd="0" presId="urn:microsoft.com/office/officeart/2008/layout/VerticalAccentList"/>
    <dgm:cxn modelId="{71FFA4DE-38B7-42C0-88BC-894982946654}" type="presParOf" srcId="{7452449F-8BC6-4D72-8208-5D8429C78F74}" destId="{60E5730D-A2B1-48CA-9C4D-510E4ED154CF}" srcOrd="0" destOrd="0" presId="urn:microsoft.com/office/officeart/2008/layout/VerticalAccentList"/>
    <dgm:cxn modelId="{92F39EEC-4372-4608-BD6B-53DB3D8C9CA3}" type="presParOf" srcId="{7452449F-8BC6-4D72-8208-5D8429C78F74}" destId="{42FBA239-A48A-4D33-8137-43BED3732530}" srcOrd="1" destOrd="0" presId="urn:microsoft.com/office/officeart/2008/layout/VerticalAccentList"/>
    <dgm:cxn modelId="{2AD59041-2934-4D21-8F21-53F91B07E93E}" type="presParOf" srcId="{7452449F-8BC6-4D72-8208-5D8429C78F74}" destId="{7505BDBC-4A05-4E21-8401-5F35D8230C76}" srcOrd="2" destOrd="0" presId="urn:microsoft.com/office/officeart/2008/layout/VerticalAccentList"/>
    <dgm:cxn modelId="{1EB795A5-C054-4594-A01B-53AB674B0686}" type="presParOf" srcId="{7452449F-8BC6-4D72-8208-5D8429C78F74}" destId="{EC8A6E6F-F4D7-4796-A54D-B5B7B7536E69}" srcOrd="3" destOrd="0" presId="urn:microsoft.com/office/officeart/2008/layout/VerticalAccentList"/>
    <dgm:cxn modelId="{0D74D2C5-D19B-4B68-9F30-3D6F3B905245}" type="presParOf" srcId="{7452449F-8BC6-4D72-8208-5D8429C78F74}" destId="{8F5DE1A5-521B-413F-9CBA-A7114D9DA3D6}" srcOrd="4" destOrd="0" presId="urn:microsoft.com/office/officeart/2008/layout/VerticalAccentList"/>
    <dgm:cxn modelId="{2845201E-4B02-47A0-9573-5952E02A7845}" type="presParOf" srcId="{7452449F-8BC6-4D72-8208-5D8429C78F74}" destId="{7909B03A-56A8-48CF-9B2C-16C4FA44F06E}" srcOrd="5" destOrd="0" presId="urn:microsoft.com/office/officeart/2008/layout/VerticalAccentList"/>
    <dgm:cxn modelId="{448972D9-B9B6-408C-8E82-9B9A80BECD37}" type="presParOf" srcId="{7452449F-8BC6-4D72-8208-5D8429C78F74}" destId="{686D40E1-18B8-4C7A-941A-8AB559BE591C}"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010B08B-BF7E-4539-B270-40511D9206F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D4E65CD-AE88-4754-BFB8-1B9387D889E8}">
      <dgm:prSet phldrT="[Text]"/>
      <dgm:spPr/>
      <dgm:t>
        <a:bodyPr/>
        <a:lstStyle/>
        <a:p>
          <a:r>
            <a:rPr lang="en-IN" b="0" i="0" dirty="0" err="1" smtClean="0"/>
            <a:t>kube-apiserver</a:t>
          </a:r>
          <a:endParaRPr lang="en-US" dirty="0"/>
        </a:p>
      </dgm:t>
    </dgm:pt>
    <dgm:pt modelId="{5EF5C69B-7ADB-43AD-A66C-01723783219B}" type="parTrans" cxnId="{64904931-0D7C-4961-B930-58299BC1A338}">
      <dgm:prSet/>
      <dgm:spPr/>
      <dgm:t>
        <a:bodyPr/>
        <a:lstStyle/>
        <a:p>
          <a:endParaRPr lang="en-US"/>
        </a:p>
      </dgm:t>
    </dgm:pt>
    <dgm:pt modelId="{28569486-0DC1-4F82-B385-190222ACAE2D}" type="sibTrans" cxnId="{64904931-0D7C-4961-B930-58299BC1A338}">
      <dgm:prSet/>
      <dgm:spPr/>
      <dgm:t>
        <a:bodyPr/>
        <a:lstStyle/>
        <a:p>
          <a:endParaRPr lang="en-US"/>
        </a:p>
      </dgm:t>
    </dgm:pt>
    <dgm:pt modelId="{B93E6D4C-371D-4011-805D-C371B15FA053}">
      <dgm:prSet phldrT="[Text]"/>
      <dgm:spPr/>
      <dgm:t>
        <a:bodyPr/>
        <a:lstStyle/>
        <a:p>
          <a:r>
            <a:rPr lang="en-US" dirty="0" err="1" smtClean="0"/>
            <a:t>etcd</a:t>
          </a:r>
          <a:endParaRPr lang="en-US" dirty="0"/>
        </a:p>
      </dgm:t>
    </dgm:pt>
    <dgm:pt modelId="{9EA81F71-B51B-4720-9AA5-D2A708665B8F}" type="parTrans" cxnId="{4BA77D4F-5DE0-4792-AE38-24297897D1C4}">
      <dgm:prSet/>
      <dgm:spPr/>
      <dgm:t>
        <a:bodyPr/>
        <a:lstStyle/>
        <a:p>
          <a:endParaRPr lang="en-US"/>
        </a:p>
      </dgm:t>
    </dgm:pt>
    <dgm:pt modelId="{FC181F88-A6EA-4115-A110-EF022056947A}" type="sibTrans" cxnId="{4BA77D4F-5DE0-4792-AE38-24297897D1C4}">
      <dgm:prSet/>
      <dgm:spPr/>
      <dgm:t>
        <a:bodyPr/>
        <a:lstStyle/>
        <a:p>
          <a:endParaRPr lang="en-US"/>
        </a:p>
      </dgm:t>
    </dgm:pt>
    <dgm:pt modelId="{EE399EB7-6C79-408D-8B68-60D395369632}">
      <dgm:prSet phldrT="[Text]"/>
      <dgm:spPr/>
      <dgm:t>
        <a:bodyPr/>
        <a:lstStyle/>
        <a:p>
          <a:r>
            <a:rPr lang="en-IN" b="0" i="0" dirty="0" err="1" smtClean="0"/>
            <a:t>kube</a:t>
          </a:r>
          <a:r>
            <a:rPr lang="en-IN" b="0" i="0" dirty="0" smtClean="0"/>
            <a:t>-scheduler</a:t>
          </a:r>
          <a:endParaRPr lang="en-US" dirty="0"/>
        </a:p>
      </dgm:t>
    </dgm:pt>
    <dgm:pt modelId="{26B2A13D-A7FA-4589-81FD-9D6C48D8F2D5}" type="parTrans" cxnId="{045AEF13-A1B0-4078-9A0E-DEA4C45C2024}">
      <dgm:prSet/>
      <dgm:spPr/>
      <dgm:t>
        <a:bodyPr/>
        <a:lstStyle/>
        <a:p>
          <a:endParaRPr lang="en-US"/>
        </a:p>
      </dgm:t>
    </dgm:pt>
    <dgm:pt modelId="{3B0583FA-D9C5-4F68-9BE3-BA29A1493044}" type="sibTrans" cxnId="{045AEF13-A1B0-4078-9A0E-DEA4C45C2024}">
      <dgm:prSet/>
      <dgm:spPr/>
      <dgm:t>
        <a:bodyPr/>
        <a:lstStyle/>
        <a:p>
          <a:endParaRPr lang="en-US"/>
        </a:p>
      </dgm:t>
    </dgm:pt>
    <dgm:pt modelId="{19A77B1E-7F64-406E-8BC1-9CAD1E2963F9}">
      <dgm:prSet phldrT="[Text]"/>
      <dgm:spPr/>
      <dgm:t>
        <a:bodyPr/>
        <a:lstStyle/>
        <a:p>
          <a:r>
            <a:rPr lang="en-IN" b="0" i="0" smtClean="0"/>
            <a:t>kube-controller-manager</a:t>
          </a:r>
          <a:endParaRPr lang="en-US" dirty="0"/>
        </a:p>
      </dgm:t>
    </dgm:pt>
    <dgm:pt modelId="{D940255B-FBCD-40AB-95AA-E227229746EC}" type="parTrans" cxnId="{F6A4B7FC-EF93-45D0-9793-9F368B8ACF3C}">
      <dgm:prSet/>
      <dgm:spPr/>
    </dgm:pt>
    <dgm:pt modelId="{EF2BC716-BA92-4103-AF3D-C096C31272D4}" type="sibTrans" cxnId="{F6A4B7FC-EF93-45D0-9793-9F368B8ACF3C}">
      <dgm:prSet/>
      <dgm:spPr/>
    </dgm:pt>
    <dgm:pt modelId="{7FDAF88D-8BA7-4DF6-A8A7-8F3513BE36E3}">
      <dgm:prSet phldrT="[Text]"/>
      <dgm:spPr/>
      <dgm:t>
        <a:bodyPr/>
        <a:lstStyle/>
        <a:p>
          <a:r>
            <a:rPr lang="en-IN" b="0" i="0" smtClean="0"/>
            <a:t>cloud-controller-manager</a:t>
          </a:r>
          <a:endParaRPr lang="en-US" dirty="0"/>
        </a:p>
      </dgm:t>
    </dgm:pt>
    <dgm:pt modelId="{2B4817F2-2E25-41C3-B103-D376895B921A}" type="parTrans" cxnId="{01875ACF-413E-4FE7-916A-62C9FEE99622}">
      <dgm:prSet/>
      <dgm:spPr/>
    </dgm:pt>
    <dgm:pt modelId="{06519AB5-EE3B-4BC7-AE26-5838E824E890}" type="sibTrans" cxnId="{01875ACF-413E-4FE7-916A-62C9FEE99622}">
      <dgm:prSet/>
      <dgm:spPr/>
    </dgm:pt>
    <dgm:pt modelId="{D0A0EE34-BCFE-4AA3-8DF1-198AA4479A72}" type="pres">
      <dgm:prSet presAssocID="{4010B08B-BF7E-4539-B270-40511D9206F1}" presName="linear" presStyleCnt="0">
        <dgm:presLayoutVars>
          <dgm:dir/>
          <dgm:animLvl val="lvl"/>
          <dgm:resizeHandles val="exact"/>
        </dgm:presLayoutVars>
      </dgm:prSet>
      <dgm:spPr/>
      <dgm:t>
        <a:bodyPr/>
        <a:lstStyle/>
        <a:p>
          <a:endParaRPr lang="en-US"/>
        </a:p>
      </dgm:t>
    </dgm:pt>
    <dgm:pt modelId="{B6B12419-5BB9-4293-8902-6F48C796A845}" type="pres">
      <dgm:prSet presAssocID="{DD4E65CD-AE88-4754-BFB8-1B9387D889E8}" presName="parentLin" presStyleCnt="0"/>
      <dgm:spPr/>
    </dgm:pt>
    <dgm:pt modelId="{48DF78AC-0436-4EE9-9CE8-5E0C841ADB81}" type="pres">
      <dgm:prSet presAssocID="{DD4E65CD-AE88-4754-BFB8-1B9387D889E8}" presName="parentLeftMargin" presStyleLbl="node1" presStyleIdx="0" presStyleCnt="5"/>
      <dgm:spPr/>
      <dgm:t>
        <a:bodyPr/>
        <a:lstStyle/>
        <a:p>
          <a:endParaRPr lang="en-US"/>
        </a:p>
      </dgm:t>
    </dgm:pt>
    <dgm:pt modelId="{C725B842-E52D-4F65-A895-CC7B3D5E2864}" type="pres">
      <dgm:prSet presAssocID="{DD4E65CD-AE88-4754-BFB8-1B9387D889E8}" presName="parentText" presStyleLbl="node1" presStyleIdx="0" presStyleCnt="5">
        <dgm:presLayoutVars>
          <dgm:chMax val="0"/>
          <dgm:bulletEnabled val="1"/>
        </dgm:presLayoutVars>
      </dgm:prSet>
      <dgm:spPr/>
      <dgm:t>
        <a:bodyPr/>
        <a:lstStyle/>
        <a:p>
          <a:endParaRPr lang="en-US"/>
        </a:p>
      </dgm:t>
    </dgm:pt>
    <dgm:pt modelId="{8800F615-EE8B-4DA9-AE85-87FD6D712E6E}" type="pres">
      <dgm:prSet presAssocID="{DD4E65CD-AE88-4754-BFB8-1B9387D889E8}" presName="negativeSpace" presStyleCnt="0"/>
      <dgm:spPr/>
    </dgm:pt>
    <dgm:pt modelId="{AFFD7DA1-A560-4F90-9EFD-5BB81EF03060}" type="pres">
      <dgm:prSet presAssocID="{DD4E65CD-AE88-4754-BFB8-1B9387D889E8}" presName="childText" presStyleLbl="conFgAcc1" presStyleIdx="0" presStyleCnt="5">
        <dgm:presLayoutVars>
          <dgm:bulletEnabled val="1"/>
        </dgm:presLayoutVars>
      </dgm:prSet>
      <dgm:spPr/>
    </dgm:pt>
    <dgm:pt modelId="{9D7205FD-4D7C-46F0-AD6A-2BDE8F7BED67}" type="pres">
      <dgm:prSet presAssocID="{28569486-0DC1-4F82-B385-190222ACAE2D}" presName="spaceBetweenRectangles" presStyleCnt="0"/>
      <dgm:spPr/>
    </dgm:pt>
    <dgm:pt modelId="{51530D8D-2986-411C-B407-72F29A9C168F}" type="pres">
      <dgm:prSet presAssocID="{B93E6D4C-371D-4011-805D-C371B15FA053}" presName="parentLin" presStyleCnt="0"/>
      <dgm:spPr/>
    </dgm:pt>
    <dgm:pt modelId="{FD9EA004-4239-4D44-9C6B-F76E510709BF}" type="pres">
      <dgm:prSet presAssocID="{B93E6D4C-371D-4011-805D-C371B15FA053}" presName="parentLeftMargin" presStyleLbl="node1" presStyleIdx="0" presStyleCnt="5"/>
      <dgm:spPr/>
      <dgm:t>
        <a:bodyPr/>
        <a:lstStyle/>
        <a:p>
          <a:endParaRPr lang="en-US"/>
        </a:p>
      </dgm:t>
    </dgm:pt>
    <dgm:pt modelId="{B8AB7EEA-C82F-459B-BBC8-74A2D76BECEF}" type="pres">
      <dgm:prSet presAssocID="{B93E6D4C-371D-4011-805D-C371B15FA053}" presName="parentText" presStyleLbl="node1" presStyleIdx="1" presStyleCnt="5">
        <dgm:presLayoutVars>
          <dgm:chMax val="0"/>
          <dgm:bulletEnabled val="1"/>
        </dgm:presLayoutVars>
      </dgm:prSet>
      <dgm:spPr/>
      <dgm:t>
        <a:bodyPr/>
        <a:lstStyle/>
        <a:p>
          <a:endParaRPr lang="en-US"/>
        </a:p>
      </dgm:t>
    </dgm:pt>
    <dgm:pt modelId="{CE17FC22-0E5A-4C8E-A77E-B01D18411B1A}" type="pres">
      <dgm:prSet presAssocID="{B93E6D4C-371D-4011-805D-C371B15FA053}" presName="negativeSpace" presStyleCnt="0"/>
      <dgm:spPr/>
    </dgm:pt>
    <dgm:pt modelId="{5F5BFE78-C1B2-4F72-9B67-8D08F5DC209F}" type="pres">
      <dgm:prSet presAssocID="{B93E6D4C-371D-4011-805D-C371B15FA053}" presName="childText" presStyleLbl="conFgAcc1" presStyleIdx="1" presStyleCnt="5">
        <dgm:presLayoutVars>
          <dgm:bulletEnabled val="1"/>
        </dgm:presLayoutVars>
      </dgm:prSet>
      <dgm:spPr/>
    </dgm:pt>
    <dgm:pt modelId="{DCF88AF6-8F0B-4EDE-8DB6-E77AA6C96FDE}" type="pres">
      <dgm:prSet presAssocID="{FC181F88-A6EA-4115-A110-EF022056947A}" presName="spaceBetweenRectangles" presStyleCnt="0"/>
      <dgm:spPr/>
    </dgm:pt>
    <dgm:pt modelId="{210AE846-BD27-41A7-BF8D-481DDF0E9E0F}" type="pres">
      <dgm:prSet presAssocID="{EE399EB7-6C79-408D-8B68-60D395369632}" presName="parentLin" presStyleCnt="0"/>
      <dgm:spPr/>
    </dgm:pt>
    <dgm:pt modelId="{78E1912F-6EF7-4F5E-AB40-47EBCE53A5E0}" type="pres">
      <dgm:prSet presAssocID="{EE399EB7-6C79-408D-8B68-60D395369632}" presName="parentLeftMargin" presStyleLbl="node1" presStyleIdx="1" presStyleCnt="5"/>
      <dgm:spPr/>
      <dgm:t>
        <a:bodyPr/>
        <a:lstStyle/>
        <a:p>
          <a:endParaRPr lang="en-US"/>
        </a:p>
      </dgm:t>
    </dgm:pt>
    <dgm:pt modelId="{AF3C37CF-1BEE-46BE-9EF2-A610FFC34BE7}" type="pres">
      <dgm:prSet presAssocID="{EE399EB7-6C79-408D-8B68-60D395369632}" presName="parentText" presStyleLbl="node1" presStyleIdx="2" presStyleCnt="5">
        <dgm:presLayoutVars>
          <dgm:chMax val="0"/>
          <dgm:bulletEnabled val="1"/>
        </dgm:presLayoutVars>
      </dgm:prSet>
      <dgm:spPr/>
      <dgm:t>
        <a:bodyPr/>
        <a:lstStyle/>
        <a:p>
          <a:endParaRPr lang="en-US"/>
        </a:p>
      </dgm:t>
    </dgm:pt>
    <dgm:pt modelId="{32D6FAED-3E3D-4978-8C75-9778D0ADFB56}" type="pres">
      <dgm:prSet presAssocID="{EE399EB7-6C79-408D-8B68-60D395369632}" presName="negativeSpace" presStyleCnt="0"/>
      <dgm:spPr/>
    </dgm:pt>
    <dgm:pt modelId="{62DD1048-C3F5-4C49-8866-FC24AFF6AC75}" type="pres">
      <dgm:prSet presAssocID="{EE399EB7-6C79-408D-8B68-60D395369632}" presName="childText" presStyleLbl="conFgAcc1" presStyleIdx="2" presStyleCnt="5">
        <dgm:presLayoutVars>
          <dgm:bulletEnabled val="1"/>
        </dgm:presLayoutVars>
      </dgm:prSet>
      <dgm:spPr/>
    </dgm:pt>
    <dgm:pt modelId="{D2317928-A023-4EBA-883D-0B5F022A7D5B}" type="pres">
      <dgm:prSet presAssocID="{3B0583FA-D9C5-4F68-9BE3-BA29A1493044}" presName="spaceBetweenRectangles" presStyleCnt="0"/>
      <dgm:spPr/>
    </dgm:pt>
    <dgm:pt modelId="{646FD1C4-E362-4373-BB4A-7270B70817CD}" type="pres">
      <dgm:prSet presAssocID="{19A77B1E-7F64-406E-8BC1-9CAD1E2963F9}" presName="parentLin" presStyleCnt="0"/>
      <dgm:spPr/>
    </dgm:pt>
    <dgm:pt modelId="{45CD9C22-D267-4A9C-A905-064D4A2AD60F}" type="pres">
      <dgm:prSet presAssocID="{19A77B1E-7F64-406E-8BC1-9CAD1E2963F9}" presName="parentLeftMargin" presStyleLbl="node1" presStyleIdx="2" presStyleCnt="5"/>
      <dgm:spPr/>
      <dgm:t>
        <a:bodyPr/>
        <a:lstStyle/>
        <a:p>
          <a:endParaRPr lang="en-US"/>
        </a:p>
      </dgm:t>
    </dgm:pt>
    <dgm:pt modelId="{C66D2A14-C31C-4CF3-99C8-113C4C1DB150}" type="pres">
      <dgm:prSet presAssocID="{19A77B1E-7F64-406E-8BC1-9CAD1E2963F9}" presName="parentText" presStyleLbl="node1" presStyleIdx="3" presStyleCnt="5">
        <dgm:presLayoutVars>
          <dgm:chMax val="0"/>
          <dgm:bulletEnabled val="1"/>
        </dgm:presLayoutVars>
      </dgm:prSet>
      <dgm:spPr/>
      <dgm:t>
        <a:bodyPr/>
        <a:lstStyle/>
        <a:p>
          <a:endParaRPr lang="en-US"/>
        </a:p>
      </dgm:t>
    </dgm:pt>
    <dgm:pt modelId="{245417A7-0060-4D56-91CB-3EF970F8263A}" type="pres">
      <dgm:prSet presAssocID="{19A77B1E-7F64-406E-8BC1-9CAD1E2963F9}" presName="negativeSpace" presStyleCnt="0"/>
      <dgm:spPr/>
    </dgm:pt>
    <dgm:pt modelId="{9CD4F949-65C5-4F6D-9C4F-46BB89CA6309}" type="pres">
      <dgm:prSet presAssocID="{19A77B1E-7F64-406E-8BC1-9CAD1E2963F9}" presName="childText" presStyleLbl="conFgAcc1" presStyleIdx="3" presStyleCnt="5">
        <dgm:presLayoutVars>
          <dgm:bulletEnabled val="1"/>
        </dgm:presLayoutVars>
      </dgm:prSet>
      <dgm:spPr/>
    </dgm:pt>
    <dgm:pt modelId="{D55CEF93-C28E-4F73-99DC-6D52D79B1803}" type="pres">
      <dgm:prSet presAssocID="{EF2BC716-BA92-4103-AF3D-C096C31272D4}" presName="spaceBetweenRectangles" presStyleCnt="0"/>
      <dgm:spPr/>
    </dgm:pt>
    <dgm:pt modelId="{FB0383CA-460C-449D-A50B-5682B3968C77}" type="pres">
      <dgm:prSet presAssocID="{7FDAF88D-8BA7-4DF6-A8A7-8F3513BE36E3}" presName="parentLin" presStyleCnt="0"/>
      <dgm:spPr/>
    </dgm:pt>
    <dgm:pt modelId="{4D9A33B1-E9B5-4285-BADB-C7813A960570}" type="pres">
      <dgm:prSet presAssocID="{7FDAF88D-8BA7-4DF6-A8A7-8F3513BE36E3}" presName="parentLeftMargin" presStyleLbl="node1" presStyleIdx="3" presStyleCnt="5"/>
      <dgm:spPr/>
      <dgm:t>
        <a:bodyPr/>
        <a:lstStyle/>
        <a:p>
          <a:endParaRPr lang="en-US"/>
        </a:p>
      </dgm:t>
    </dgm:pt>
    <dgm:pt modelId="{A42E33BD-CB64-47DF-937D-BDCE21315FCB}" type="pres">
      <dgm:prSet presAssocID="{7FDAF88D-8BA7-4DF6-A8A7-8F3513BE36E3}" presName="parentText" presStyleLbl="node1" presStyleIdx="4" presStyleCnt="5">
        <dgm:presLayoutVars>
          <dgm:chMax val="0"/>
          <dgm:bulletEnabled val="1"/>
        </dgm:presLayoutVars>
      </dgm:prSet>
      <dgm:spPr/>
      <dgm:t>
        <a:bodyPr/>
        <a:lstStyle/>
        <a:p>
          <a:endParaRPr lang="en-US"/>
        </a:p>
      </dgm:t>
    </dgm:pt>
    <dgm:pt modelId="{02666D93-F542-4ACB-BDBD-2DF639B604ED}" type="pres">
      <dgm:prSet presAssocID="{7FDAF88D-8BA7-4DF6-A8A7-8F3513BE36E3}" presName="negativeSpace" presStyleCnt="0"/>
      <dgm:spPr/>
    </dgm:pt>
    <dgm:pt modelId="{EE3C7160-9F54-461D-AD6C-0146D9A516F6}" type="pres">
      <dgm:prSet presAssocID="{7FDAF88D-8BA7-4DF6-A8A7-8F3513BE36E3}" presName="childText" presStyleLbl="conFgAcc1" presStyleIdx="4" presStyleCnt="5">
        <dgm:presLayoutVars>
          <dgm:bulletEnabled val="1"/>
        </dgm:presLayoutVars>
      </dgm:prSet>
      <dgm:spPr/>
    </dgm:pt>
  </dgm:ptLst>
  <dgm:cxnLst>
    <dgm:cxn modelId="{01875ACF-413E-4FE7-916A-62C9FEE99622}" srcId="{4010B08B-BF7E-4539-B270-40511D9206F1}" destId="{7FDAF88D-8BA7-4DF6-A8A7-8F3513BE36E3}" srcOrd="4" destOrd="0" parTransId="{2B4817F2-2E25-41C3-B103-D376895B921A}" sibTransId="{06519AB5-EE3B-4BC7-AE26-5838E824E890}"/>
    <dgm:cxn modelId="{033553F3-6320-4527-B8BB-6691E068C2D5}" type="presOf" srcId="{DD4E65CD-AE88-4754-BFB8-1B9387D889E8}" destId="{C725B842-E52D-4F65-A895-CC7B3D5E2864}" srcOrd="1" destOrd="0" presId="urn:microsoft.com/office/officeart/2005/8/layout/list1"/>
    <dgm:cxn modelId="{8DFDAF86-0659-4FA8-8A2A-F1627168FD0C}" type="presOf" srcId="{19A77B1E-7F64-406E-8BC1-9CAD1E2963F9}" destId="{C66D2A14-C31C-4CF3-99C8-113C4C1DB150}" srcOrd="1" destOrd="0" presId="urn:microsoft.com/office/officeart/2005/8/layout/list1"/>
    <dgm:cxn modelId="{2683C815-31CB-4802-BB60-AFB6C3022798}" type="presOf" srcId="{EE399EB7-6C79-408D-8B68-60D395369632}" destId="{AF3C37CF-1BEE-46BE-9EF2-A610FFC34BE7}" srcOrd="1" destOrd="0" presId="urn:microsoft.com/office/officeart/2005/8/layout/list1"/>
    <dgm:cxn modelId="{EA590D10-C43D-4348-B0DF-F065EB4080F5}" type="presOf" srcId="{B93E6D4C-371D-4011-805D-C371B15FA053}" destId="{B8AB7EEA-C82F-459B-BBC8-74A2D76BECEF}" srcOrd="1" destOrd="0" presId="urn:microsoft.com/office/officeart/2005/8/layout/list1"/>
    <dgm:cxn modelId="{B36B2FAE-F82B-421C-860C-803DC267A6CB}" type="presOf" srcId="{4010B08B-BF7E-4539-B270-40511D9206F1}" destId="{D0A0EE34-BCFE-4AA3-8DF1-198AA4479A72}" srcOrd="0" destOrd="0" presId="urn:microsoft.com/office/officeart/2005/8/layout/list1"/>
    <dgm:cxn modelId="{64904931-0D7C-4961-B930-58299BC1A338}" srcId="{4010B08B-BF7E-4539-B270-40511D9206F1}" destId="{DD4E65CD-AE88-4754-BFB8-1B9387D889E8}" srcOrd="0" destOrd="0" parTransId="{5EF5C69B-7ADB-43AD-A66C-01723783219B}" sibTransId="{28569486-0DC1-4F82-B385-190222ACAE2D}"/>
    <dgm:cxn modelId="{6C152817-128D-4D01-9A76-C18CA0B4010F}" type="presOf" srcId="{7FDAF88D-8BA7-4DF6-A8A7-8F3513BE36E3}" destId="{4D9A33B1-E9B5-4285-BADB-C7813A960570}" srcOrd="0" destOrd="0" presId="urn:microsoft.com/office/officeart/2005/8/layout/list1"/>
    <dgm:cxn modelId="{E10CDA94-EA77-4F2F-A9AF-5A90B6D6DB70}" type="presOf" srcId="{DD4E65CD-AE88-4754-BFB8-1B9387D889E8}" destId="{48DF78AC-0436-4EE9-9CE8-5E0C841ADB81}" srcOrd="0" destOrd="0" presId="urn:microsoft.com/office/officeart/2005/8/layout/list1"/>
    <dgm:cxn modelId="{5A87B967-E940-4823-8C24-8E24B5EA798D}" type="presOf" srcId="{EE399EB7-6C79-408D-8B68-60D395369632}" destId="{78E1912F-6EF7-4F5E-AB40-47EBCE53A5E0}" srcOrd="0" destOrd="0" presId="urn:microsoft.com/office/officeart/2005/8/layout/list1"/>
    <dgm:cxn modelId="{4BA77D4F-5DE0-4792-AE38-24297897D1C4}" srcId="{4010B08B-BF7E-4539-B270-40511D9206F1}" destId="{B93E6D4C-371D-4011-805D-C371B15FA053}" srcOrd="1" destOrd="0" parTransId="{9EA81F71-B51B-4720-9AA5-D2A708665B8F}" sibTransId="{FC181F88-A6EA-4115-A110-EF022056947A}"/>
    <dgm:cxn modelId="{8E6300FD-4E0F-4514-AF91-5FA0D7C85F9A}" type="presOf" srcId="{19A77B1E-7F64-406E-8BC1-9CAD1E2963F9}" destId="{45CD9C22-D267-4A9C-A905-064D4A2AD60F}" srcOrd="0" destOrd="0" presId="urn:microsoft.com/office/officeart/2005/8/layout/list1"/>
    <dgm:cxn modelId="{F6A4B7FC-EF93-45D0-9793-9F368B8ACF3C}" srcId="{4010B08B-BF7E-4539-B270-40511D9206F1}" destId="{19A77B1E-7F64-406E-8BC1-9CAD1E2963F9}" srcOrd="3" destOrd="0" parTransId="{D940255B-FBCD-40AB-95AA-E227229746EC}" sibTransId="{EF2BC716-BA92-4103-AF3D-C096C31272D4}"/>
    <dgm:cxn modelId="{7A0C7D0C-1256-4846-944D-C829DA47745D}" type="presOf" srcId="{7FDAF88D-8BA7-4DF6-A8A7-8F3513BE36E3}" destId="{A42E33BD-CB64-47DF-937D-BDCE21315FCB}" srcOrd="1" destOrd="0" presId="urn:microsoft.com/office/officeart/2005/8/layout/list1"/>
    <dgm:cxn modelId="{D961252B-D553-41DE-A0DF-BF738A40927F}" type="presOf" srcId="{B93E6D4C-371D-4011-805D-C371B15FA053}" destId="{FD9EA004-4239-4D44-9C6B-F76E510709BF}" srcOrd="0" destOrd="0" presId="urn:microsoft.com/office/officeart/2005/8/layout/list1"/>
    <dgm:cxn modelId="{045AEF13-A1B0-4078-9A0E-DEA4C45C2024}" srcId="{4010B08B-BF7E-4539-B270-40511D9206F1}" destId="{EE399EB7-6C79-408D-8B68-60D395369632}" srcOrd="2" destOrd="0" parTransId="{26B2A13D-A7FA-4589-81FD-9D6C48D8F2D5}" sibTransId="{3B0583FA-D9C5-4F68-9BE3-BA29A1493044}"/>
    <dgm:cxn modelId="{805ED281-64D0-4C48-87E9-AE69A876B2DF}" type="presParOf" srcId="{D0A0EE34-BCFE-4AA3-8DF1-198AA4479A72}" destId="{B6B12419-5BB9-4293-8902-6F48C796A845}" srcOrd="0" destOrd="0" presId="urn:microsoft.com/office/officeart/2005/8/layout/list1"/>
    <dgm:cxn modelId="{D88102E4-D425-4A0F-8D7D-9474A141A81E}" type="presParOf" srcId="{B6B12419-5BB9-4293-8902-6F48C796A845}" destId="{48DF78AC-0436-4EE9-9CE8-5E0C841ADB81}" srcOrd="0" destOrd="0" presId="urn:microsoft.com/office/officeart/2005/8/layout/list1"/>
    <dgm:cxn modelId="{6134681D-BE89-4834-82B9-CF5A283E5E14}" type="presParOf" srcId="{B6B12419-5BB9-4293-8902-6F48C796A845}" destId="{C725B842-E52D-4F65-A895-CC7B3D5E2864}" srcOrd="1" destOrd="0" presId="urn:microsoft.com/office/officeart/2005/8/layout/list1"/>
    <dgm:cxn modelId="{A3CFCC20-5346-4A0F-A842-81FD2F44912C}" type="presParOf" srcId="{D0A0EE34-BCFE-4AA3-8DF1-198AA4479A72}" destId="{8800F615-EE8B-4DA9-AE85-87FD6D712E6E}" srcOrd="1" destOrd="0" presId="urn:microsoft.com/office/officeart/2005/8/layout/list1"/>
    <dgm:cxn modelId="{DBB39143-4B41-4D17-8187-F6EE4AD23C1C}" type="presParOf" srcId="{D0A0EE34-BCFE-4AA3-8DF1-198AA4479A72}" destId="{AFFD7DA1-A560-4F90-9EFD-5BB81EF03060}" srcOrd="2" destOrd="0" presId="urn:microsoft.com/office/officeart/2005/8/layout/list1"/>
    <dgm:cxn modelId="{1E8A41CF-58D9-44E8-BE4B-0A5F854810B3}" type="presParOf" srcId="{D0A0EE34-BCFE-4AA3-8DF1-198AA4479A72}" destId="{9D7205FD-4D7C-46F0-AD6A-2BDE8F7BED67}" srcOrd="3" destOrd="0" presId="urn:microsoft.com/office/officeart/2005/8/layout/list1"/>
    <dgm:cxn modelId="{A7B9C8B6-A51C-4CC7-9198-279E292F53B3}" type="presParOf" srcId="{D0A0EE34-BCFE-4AA3-8DF1-198AA4479A72}" destId="{51530D8D-2986-411C-B407-72F29A9C168F}" srcOrd="4" destOrd="0" presId="urn:microsoft.com/office/officeart/2005/8/layout/list1"/>
    <dgm:cxn modelId="{B6982438-B04C-4A95-8291-13955B3ABAB3}" type="presParOf" srcId="{51530D8D-2986-411C-B407-72F29A9C168F}" destId="{FD9EA004-4239-4D44-9C6B-F76E510709BF}" srcOrd="0" destOrd="0" presId="urn:microsoft.com/office/officeart/2005/8/layout/list1"/>
    <dgm:cxn modelId="{70962897-BEDB-4FE4-A478-E9A1B36D7938}" type="presParOf" srcId="{51530D8D-2986-411C-B407-72F29A9C168F}" destId="{B8AB7EEA-C82F-459B-BBC8-74A2D76BECEF}" srcOrd="1" destOrd="0" presId="urn:microsoft.com/office/officeart/2005/8/layout/list1"/>
    <dgm:cxn modelId="{EFC85216-9929-4269-B8C1-7B13399A6B59}" type="presParOf" srcId="{D0A0EE34-BCFE-4AA3-8DF1-198AA4479A72}" destId="{CE17FC22-0E5A-4C8E-A77E-B01D18411B1A}" srcOrd="5" destOrd="0" presId="urn:microsoft.com/office/officeart/2005/8/layout/list1"/>
    <dgm:cxn modelId="{C3D11048-D85A-4D48-80B8-322A31A18607}" type="presParOf" srcId="{D0A0EE34-BCFE-4AA3-8DF1-198AA4479A72}" destId="{5F5BFE78-C1B2-4F72-9B67-8D08F5DC209F}" srcOrd="6" destOrd="0" presId="urn:microsoft.com/office/officeart/2005/8/layout/list1"/>
    <dgm:cxn modelId="{B130318E-2745-4A07-AF66-6D91FA1684F2}" type="presParOf" srcId="{D0A0EE34-BCFE-4AA3-8DF1-198AA4479A72}" destId="{DCF88AF6-8F0B-4EDE-8DB6-E77AA6C96FDE}" srcOrd="7" destOrd="0" presId="urn:microsoft.com/office/officeart/2005/8/layout/list1"/>
    <dgm:cxn modelId="{572B8DD7-AAA1-43BF-9A90-59E7A91E02CA}" type="presParOf" srcId="{D0A0EE34-BCFE-4AA3-8DF1-198AA4479A72}" destId="{210AE846-BD27-41A7-BF8D-481DDF0E9E0F}" srcOrd="8" destOrd="0" presId="urn:microsoft.com/office/officeart/2005/8/layout/list1"/>
    <dgm:cxn modelId="{BF0F0D9F-54D6-42C8-B196-AAF131F0DB81}" type="presParOf" srcId="{210AE846-BD27-41A7-BF8D-481DDF0E9E0F}" destId="{78E1912F-6EF7-4F5E-AB40-47EBCE53A5E0}" srcOrd="0" destOrd="0" presId="urn:microsoft.com/office/officeart/2005/8/layout/list1"/>
    <dgm:cxn modelId="{621F761A-ADA5-42A1-8249-676A69A6CB9C}" type="presParOf" srcId="{210AE846-BD27-41A7-BF8D-481DDF0E9E0F}" destId="{AF3C37CF-1BEE-46BE-9EF2-A610FFC34BE7}" srcOrd="1" destOrd="0" presId="urn:microsoft.com/office/officeart/2005/8/layout/list1"/>
    <dgm:cxn modelId="{CC1EC779-2B7C-44EE-BEDD-8476EBEC045A}" type="presParOf" srcId="{D0A0EE34-BCFE-4AA3-8DF1-198AA4479A72}" destId="{32D6FAED-3E3D-4978-8C75-9778D0ADFB56}" srcOrd="9" destOrd="0" presId="urn:microsoft.com/office/officeart/2005/8/layout/list1"/>
    <dgm:cxn modelId="{ECCE4B44-FA95-42BD-85CF-15F5050EB658}" type="presParOf" srcId="{D0A0EE34-BCFE-4AA3-8DF1-198AA4479A72}" destId="{62DD1048-C3F5-4C49-8866-FC24AFF6AC75}" srcOrd="10" destOrd="0" presId="urn:microsoft.com/office/officeart/2005/8/layout/list1"/>
    <dgm:cxn modelId="{31BC34EC-739D-4CBB-B390-1026F40E3AB5}" type="presParOf" srcId="{D0A0EE34-BCFE-4AA3-8DF1-198AA4479A72}" destId="{D2317928-A023-4EBA-883D-0B5F022A7D5B}" srcOrd="11" destOrd="0" presId="urn:microsoft.com/office/officeart/2005/8/layout/list1"/>
    <dgm:cxn modelId="{85FB679E-4311-4290-9417-2B7A680C058A}" type="presParOf" srcId="{D0A0EE34-BCFE-4AA3-8DF1-198AA4479A72}" destId="{646FD1C4-E362-4373-BB4A-7270B70817CD}" srcOrd="12" destOrd="0" presId="urn:microsoft.com/office/officeart/2005/8/layout/list1"/>
    <dgm:cxn modelId="{5DCD9600-F91E-4345-880D-13854006C45E}" type="presParOf" srcId="{646FD1C4-E362-4373-BB4A-7270B70817CD}" destId="{45CD9C22-D267-4A9C-A905-064D4A2AD60F}" srcOrd="0" destOrd="0" presId="urn:microsoft.com/office/officeart/2005/8/layout/list1"/>
    <dgm:cxn modelId="{FFF65EC5-87BE-4029-A6CC-3CAD11AE236F}" type="presParOf" srcId="{646FD1C4-E362-4373-BB4A-7270B70817CD}" destId="{C66D2A14-C31C-4CF3-99C8-113C4C1DB150}" srcOrd="1" destOrd="0" presId="urn:microsoft.com/office/officeart/2005/8/layout/list1"/>
    <dgm:cxn modelId="{049FCC2B-9BB9-4BCF-B556-CF4BDA4CE5FE}" type="presParOf" srcId="{D0A0EE34-BCFE-4AA3-8DF1-198AA4479A72}" destId="{245417A7-0060-4D56-91CB-3EF970F8263A}" srcOrd="13" destOrd="0" presId="urn:microsoft.com/office/officeart/2005/8/layout/list1"/>
    <dgm:cxn modelId="{2B62C956-5A8E-4286-ACB2-BAAA52FB9EB6}" type="presParOf" srcId="{D0A0EE34-BCFE-4AA3-8DF1-198AA4479A72}" destId="{9CD4F949-65C5-4F6D-9C4F-46BB89CA6309}" srcOrd="14" destOrd="0" presId="urn:microsoft.com/office/officeart/2005/8/layout/list1"/>
    <dgm:cxn modelId="{DAA7B868-DECF-416D-B8EF-2F897EEBA211}" type="presParOf" srcId="{D0A0EE34-BCFE-4AA3-8DF1-198AA4479A72}" destId="{D55CEF93-C28E-4F73-99DC-6D52D79B1803}" srcOrd="15" destOrd="0" presId="urn:microsoft.com/office/officeart/2005/8/layout/list1"/>
    <dgm:cxn modelId="{A88E1800-1E1E-4946-839C-6C05AC8AB236}" type="presParOf" srcId="{D0A0EE34-BCFE-4AA3-8DF1-198AA4479A72}" destId="{FB0383CA-460C-449D-A50B-5682B3968C77}" srcOrd="16" destOrd="0" presId="urn:microsoft.com/office/officeart/2005/8/layout/list1"/>
    <dgm:cxn modelId="{73189574-B657-4025-A371-EE18A7D3FA4F}" type="presParOf" srcId="{FB0383CA-460C-449D-A50B-5682B3968C77}" destId="{4D9A33B1-E9B5-4285-BADB-C7813A960570}" srcOrd="0" destOrd="0" presId="urn:microsoft.com/office/officeart/2005/8/layout/list1"/>
    <dgm:cxn modelId="{FC8C446E-84E8-4E0E-A753-4A9A27C1DA65}" type="presParOf" srcId="{FB0383CA-460C-449D-A50B-5682B3968C77}" destId="{A42E33BD-CB64-47DF-937D-BDCE21315FCB}" srcOrd="1" destOrd="0" presId="urn:microsoft.com/office/officeart/2005/8/layout/list1"/>
    <dgm:cxn modelId="{DC0D994B-2DFB-47C7-B7AA-9571D39C8E91}" type="presParOf" srcId="{D0A0EE34-BCFE-4AA3-8DF1-198AA4479A72}" destId="{02666D93-F542-4ACB-BDBD-2DF639B604ED}" srcOrd="17" destOrd="0" presId="urn:microsoft.com/office/officeart/2005/8/layout/list1"/>
    <dgm:cxn modelId="{E111C148-64E2-4454-8DF1-D4C675E6F5E8}" type="presParOf" srcId="{D0A0EE34-BCFE-4AA3-8DF1-198AA4479A72}" destId="{EE3C7160-9F54-461D-AD6C-0146D9A516F6}" srcOrd="18"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6DAD94-D56E-4061-ADB9-F4A0E795CC2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FE79EE5-EF51-4FFF-B63E-A2F7CB8EB20C}">
      <dgm:prSet phldrT="[Text]"/>
      <dgm:spPr/>
      <dgm:t>
        <a:bodyPr/>
        <a:lstStyle/>
        <a:p>
          <a:r>
            <a:rPr lang="en-US" dirty="0" smtClean="0"/>
            <a:t>1-Declare desire state of miroservice application in the manifest file</a:t>
          </a:r>
          <a:endParaRPr lang="en-US" dirty="0"/>
        </a:p>
      </dgm:t>
    </dgm:pt>
    <dgm:pt modelId="{5794823F-94CE-4F27-B23B-9AB5B1FD4BF4}" type="parTrans" cxnId="{BD7EBEE8-B657-4708-9592-5B4A4887DC8B}">
      <dgm:prSet/>
      <dgm:spPr/>
      <dgm:t>
        <a:bodyPr/>
        <a:lstStyle/>
        <a:p>
          <a:endParaRPr lang="en-US"/>
        </a:p>
      </dgm:t>
    </dgm:pt>
    <dgm:pt modelId="{66015C52-1D45-4095-97F9-1FD9EA2A0CBF}" type="sibTrans" cxnId="{BD7EBEE8-B657-4708-9592-5B4A4887DC8B}">
      <dgm:prSet/>
      <dgm:spPr/>
      <dgm:t>
        <a:bodyPr/>
        <a:lstStyle/>
        <a:p>
          <a:endParaRPr lang="en-US"/>
        </a:p>
      </dgm:t>
    </dgm:pt>
    <dgm:pt modelId="{CF255EF9-E77F-44C9-88F2-710D79E002C0}">
      <dgm:prSet phldrT="[Text]"/>
      <dgm:spPr/>
      <dgm:t>
        <a:bodyPr/>
        <a:lstStyle/>
        <a:p>
          <a:r>
            <a:rPr lang="en-US" dirty="0" smtClean="0"/>
            <a:t>2-Post it to the API Server</a:t>
          </a:r>
          <a:endParaRPr lang="en-US" dirty="0"/>
        </a:p>
      </dgm:t>
    </dgm:pt>
    <dgm:pt modelId="{B1A5E71C-5DE9-4BD5-828E-EF6BFF2B07DB}" type="parTrans" cxnId="{C6C2CDF4-124D-476A-86EB-6A288DA5E03F}">
      <dgm:prSet/>
      <dgm:spPr/>
      <dgm:t>
        <a:bodyPr/>
        <a:lstStyle/>
        <a:p>
          <a:endParaRPr lang="en-US"/>
        </a:p>
      </dgm:t>
    </dgm:pt>
    <dgm:pt modelId="{45082216-784A-4B51-ABFC-88C8AFFA6B79}" type="sibTrans" cxnId="{C6C2CDF4-124D-476A-86EB-6A288DA5E03F}">
      <dgm:prSet/>
      <dgm:spPr/>
      <dgm:t>
        <a:bodyPr/>
        <a:lstStyle/>
        <a:p>
          <a:endParaRPr lang="en-US"/>
        </a:p>
      </dgm:t>
    </dgm:pt>
    <dgm:pt modelId="{8D90B27D-3ECE-44AD-9086-8761EE6FD241}">
      <dgm:prSet phldrT="[Text]"/>
      <dgm:spPr/>
      <dgm:t>
        <a:bodyPr/>
        <a:lstStyle/>
        <a:p>
          <a:r>
            <a:rPr lang="en-US" dirty="0" smtClean="0"/>
            <a:t>3-Kubernetes stores it in the cluster store as the application’s desired state</a:t>
          </a:r>
          <a:endParaRPr lang="en-US" dirty="0"/>
        </a:p>
      </dgm:t>
    </dgm:pt>
    <dgm:pt modelId="{17C3DBA7-3621-41DF-B021-97818B9258C0}" type="parTrans" cxnId="{5A3F645F-59E7-433B-9105-5B644A656AEA}">
      <dgm:prSet/>
      <dgm:spPr/>
      <dgm:t>
        <a:bodyPr/>
        <a:lstStyle/>
        <a:p>
          <a:endParaRPr lang="en-US"/>
        </a:p>
      </dgm:t>
    </dgm:pt>
    <dgm:pt modelId="{630CC0A1-3FCC-4D9C-80C4-E2D5C9DA10F8}" type="sibTrans" cxnId="{5A3F645F-59E7-433B-9105-5B644A656AEA}">
      <dgm:prSet/>
      <dgm:spPr/>
      <dgm:t>
        <a:bodyPr/>
        <a:lstStyle/>
        <a:p>
          <a:endParaRPr lang="en-US"/>
        </a:p>
      </dgm:t>
    </dgm:pt>
    <dgm:pt modelId="{F1B94C4E-855D-4844-B03B-83E23248E01C}">
      <dgm:prSet phldrT="[Text]"/>
      <dgm:spPr/>
      <dgm:t>
        <a:bodyPr/>
        <a:lstStyle/>
        <a:p>
          <a:r>
            <a:rPr lang="en-US" dirty="0" smtClean="0"/>
            <a:t>4-Kubernetes implements the desired state on the cluster</a:t>
          </a:r>
          <a:endParaRPr lang="en-US" dirty="0"/>
        </a:p>
      </dgm:t>
    </dgm:pt>
    <dgm:pt modelId="{BD1C4316-6194-4BB3-8E60-056D9776CB0C}" type="parTrans" cxnId="{1E477738-C89C-41DE-86D3-8971D4564C79}">
      <dgm:prSet/>
      <dgm:spPr/>
      <dgm:t>
        <a:bodyPr/>
        <a:lstStyle/>
        <a:p>
          <a:endParaRPr lang="en-US"/>
        </a:p>
      </dgm:t>
    </dgm:pt>
    <dgm:pt modelId="{9C6DC9C1-8A0A-4E17-8ED4-198513C12613}" type="sibTrans" cxnId="{1E477738-C89C-41DE-86D3-8971D4564C79}">
      <dgm:prSet/>
      <dgm:spPr/>
      <dgm:t>
        <a:bodyPr/>
        <a:lstStyle/>
        <a:p>
          <a:endParaRPr lang="en-US"/>
        </a:p>
      </dgm:t>
    </dgm:pt>
    <dgm:pt modelId="{06082576-8F86-4409-AA96-956479DE0F0C}">
      <dgm:prSet phldrT="[Text]"/>
      <dgm:spPr/>
      <dgm:t>
        <a:bodyPr/>
        <a:lstStyle/>
        <a:p>
          <a:r>
            <a:rPr lang="en-US" dirty="0" smtClean="0"/>
            <a:t>5-Kubernetes implements the watch loop to make sure the current state of application does not vary from the desired state.</a:t>
          </a:r>
          <a:endParaRPr lang="en-US" dirty="0"/>
        </a:p>
      </dgm:t>
    </dgm:pt>
    <dgm:pt modelId="{A3B624D3-5D72-4FA0-A78A-E803C8478251}" type="parTrans" cxnId="{64153770-A79A-4E07-BF4C-0AA5067011B7}">
      <dgm:prSet/>
      <dgm:spPr/>
      <dgm:t>
        <a:bodyPr/>
        <a:lstStyle/>
        <a:p>
          <a:endParaRPr lang="en-US"/>
        </a:p>
      </dgm:t>
    </dgm:pt>
    <dgm:pt modelId="{8702B1C4-597F-4D33-9EBF-395742815E11}" type="sibTrans" cxnId="{64153770-A79A-4E07-BF4C-0AA5067011B7}">
      <dgm:prSet/>
      <dgm:spPr/>
      <dgm:t>
        <a:bodyPr/>
        <a:lstStyle/>
        <a:p>
          <a:endParaRPr lang="en-US"/>
        </a:p>
      </dgm:t>
    </dgm:pt>
    <dgm:pt modelId="{0902FFDD-7C29-4CE5-BE16-BCE1BF05A39D}" type="pres">
      <dgm:prSet presAssocID="{E86DAD94-D56E-4061-ADB9-F4A0E795CC23}" presName="diagram" presStyleCnt="0">
        <dgm:presLayoutVars>
          <dgm:dir/>
          <dgm:resizeHandles val="exact"/>
        </dgm:presLayoutVars>
      </dgm:prSet>
      <dgm:spPr/>
      <dgm:t>
        <a:bodyPr/>
        <a:lstStyle/>
        <a:p>
          <a:endParaRPr lang="en-US"/>
        </a:p>
      </dgm:t>
    </dgm:pt>
    <dgm:pt modelId="{2546D632-0FDF-436E-9D80-354C5C6F8D04}" type="pres">
      <dgm:prSet presAssocID="{AFE79EE5-EF51-4FFF-B63E-A2F7CB8EB20C}" presName="node" presStyleLbl="node1" presStyleIdx="0" presStyleCnt="5" custScaleX="123799">
        <dgm:presLayoutVars>
          <dgm:bulletEnabled val="1"/>
        </dgm:presLayoutVars>
      </dgm:prSet>
      <dgm:spPr/>
      <dgm:t>
        <a:bodyPr/>
        <a:lstStyle/>
        <a:p>
          <a:endParaRPr lang="en-US"/>
        </a:p>
      </dgm:t>
    </dgm:pt>
    <dgm:pt modelId="{3941963D-878F-48B3-8680-A9B9616EC5B0}" type="pres">
      <dgm:prSet presAssocID="{66015C52-1D45-4095-97F9-1FD9EA2A0CBF}" presName="sibTrans" presStyleCnt="0"/>
      <dgm:spPr/>
    </dgm:pt>
    <dgm:pt modelId="{BAFA04CD-0A01-47FD-8F3A-5BC221B71763}" type="pres">
      <dgm:prSet presAssocID="{CF255EF9-E77F-44C9-88F2-710D79E002C0}" presName="node" presStyleLbl="node1" presStyleIdx="1" presStyleCnt="5" custScaleX="131384">
        <dgm:presLayoutVars>
          <dgm:bulletEnabled val="1"/>
        </dgm:presLayoutVars>
      </dgm:prSet>
      <dgm:spPr/>
      <dgm:t>
        <a:bodyPr/>
        <a:lstStyle/>
        <a:p>
          <a:endParaRPr lang="en-US"/>
        </a:p>
      </dgm:t>
    </dgm:pt>
    <dgm:pt modelId="{B41C51F7-3A27-4F25-8245-0C19FC067BD7}" type="pres">
      <dgm:prSet presAssocID="{45082216-784A-4B51-ABFC-88C8AFFA6B79}" presName="sibTrans" presStyleCnt="0"/>
      <dgm:spPr/>
    </dgm:pt>
    <dgm:pt modelId="{FCC14CC0-C52B-45D4-9FF7-717CA904E107}" type="pres">
      <dgm:prSet presAssocID="{8D90B27D-3ECE-44AD-9086-8761EE6FD241}" presName="node" presStyleLbl="node1" presStyleIdx="2" presStyleCnt="5" custScaleX="122919" custLinFactNeighborX="-618" custLinFactNeighborY="2834">
        <dgm:presLayoutVars>
          <dgm:bulletEnabled val="1"/>
        </dgm:presLayoutVars>
      </dgm:prSet>
      <dgm:spPr/>
      <dgm:t>
        <a:bodyPr/>
        <a:lstStyle/>
        <a:p>
          <a:endParaRPr lang="en-US"/>
        </a:p>
      </dgm:t>
    </dgm:pt>
    <dgm:pt modelId="{6861C5E9-0E5D-44DA-8B09-CB1297C7120E}" type="pres">
      <dgm:prSet presAssocID="{630CC0A1-3FCC-4D9C-80C4-E2D5C9DA10F8}" presName="sibTrans" presStyleCnt="0"/>
      <dgm:spPr/>
    </dgm:pt>
    <dgm:pt modelId="{BC8BC3B5-AAB1-4B3A-86BA-8C707C693D53}" type="pres">
      <dgm:prSet presAssocID="{F1B94C4E-855D-4844-B03B-83E23248E01C}" presName="node" presStyleLbl="node1" presStyleIdx="3" presStyleCnt="5" custScaleX="124759">
        <dgm:presLayoutVars>
          <dgm:bulletEnabled val="1"/>
        </dgm:presLayoutVars>
      </dgm:prSet>
      <dgm:spPr/>
      <dgm:t>
        <a:bodyPr/>
        <a:lstStyle/>
        <a:p>
          <a:endParaRPr lang="en-US"/>
        </a:p>
      </dgm:t>
    </dgm:pt>
    <dgm:pt modelId="{DD6E6B9B-23E5-4BB8-8054-37A098FEE8FF}" type="pres">
      <dgm:prSet presAssocID="{9C6DC9C1-8A0A-4E17-8ED4-198513C12613}" presName="sibTrans" presStyleCnt="0"/>
      <dgm:spPr/>
    </dgm:pt>
    <dgm:pt modelId="{566BADF3-B8BC-46C8-88CA-68457E622010}" type="pres">
      <dgm:prSet presAssocID="{06082576-8F86-4409-AA96-956479DE0F0C}" presName="node" presStyleLbl="node1" presStyleIdx="4" presStyleCnt="5" custScaleX="130219" custScaleY="70777" custLinFactNeighborX="-680" custLinFactNeighborY="-7933">
        <dgm:presLayoutVars>
          <dgm:bulletEnabled val="1"/>
        </dgm:presLayoutVars>
      </dgm:prSet>
      <dgm:spPr/>
      <dgm:t>
        <a:bodyPr/>
        <a:lstStyle/>
        <a:p>
          <a:endParaRPr lang="en-US"/>
        </a:p>
      </dgm:t>
    </dgm:pt>
  </dgm:ptLst>
  <dgm:cxnLst>
    <dgm:cxn modelId="{BD7EBEE8-B657-4708-9592-5B4A4887DC8B}" srcId="{E86DAD94-D56E-4061-ADB9-F4A0E795CC23}" destId="{AFE79EE5-EF51-4FFF-B63E-A2F7CB8EB20C}" srcOrd="0" destOrd="0" parTransId="{5794823F-94CE-4F27-B23B-9AB5B1FD4BF4}" sibTransId="{66015C52-1D45-4095-97F9-1FD9EA2A0CBF}"/>
    <dgm:cxn modelId="{3A672DF3-E44F-4F6E-89D7-5DEB2A988827}" type="presOf" srcId="{AFE79EE5-EF51-4FFF-B63E-A2F7CB8EB20C}" destId="{2546D632-0FDF-436E-9D80-354C5C6F8D04}" srcOrd="0" destOrd="0" presId="urn:microsoft.com/office/officeart/2005/8/layout/default"/>
    <dgm:cxn modelId="{C6C2CDF4-124D-476A-86EB-6A288DA5E03F}" srcId="{E86DAD94-D56E-4061-ADB9-F4A0E795CC23}" destId="{CF255EF9-E77F-44C9-88F2-710D79E002C0}" srcOrd="1" destOrd="0" parTransId="{B1A5E71C-5DE9-4BD5-828E-EF6BFF2B07DB}" sibTransId="{45082216-784A-4B51-ABFC-88C8AFFA6B79}"/>
    <dgm:cxn modelId="{64153770-A79A-4E07-BF4C-0AA5067011B7}" srcId="{E86DAD94-D56E-4061-ADB9-F4A0E795CC23}" destId="{06082576-8F86-4409-AA96-956479DE0F0C}" srcOrd="4" destOrd="0" parTransId="{A3B624D3-5D72-4FA0-A78A-E803C8478251}" sibTransId="{8702B1C4-597F-4D33-9EBF-395742815E11}"/>
    <dgm:cxn modelId="{E35266F9-68A4-4995-80DD-E9C04D878545}" type="presOf" srcId="{E86DAD94-D56E-4061-ADB9-F4A0E795CC23}" destId="{0902FFDD-7C29-4CE5-BE16-BCE1BF05A39D}" srcOrd="0" destOrd="0" presId="urn:microsoft.com/office/officeart/2005/8/layout/default"/>
    <dgm:cxn modelId="{1B55892A-2954-4B4A-9DA7-CAC7C89EDB73}" type="presOf" srcId="{CF255EF9-E77F-44C9-88F2-710D79E002C0}" destId="{BAFA04CD-0A01-47FD-8F3A-5BC221B71763}" srcOrd="0" destOrd="0" presId="urn:microsoft.com/office/officeart/2005/8/layout/default"/>
    <dgm:cxn modelId="{C93BB01D-D0DF-4368-83F0-5267715D36CA}" type="presOf" srcId="{8D90B27D-3ECE-44AD-9086-8761EE6FD241}" destId="{FCC14CC0-C52B-45D4-9FF7-717CA904E107}" srcOrd="0" destOrd="0" presId="urn:microsoft.com/office/officeart/2005/8/layout/default"/>
    <dgm:cxn modelId="{26EEAB6B-1151-41A5-ADF4-BFC2251F41FA}" type="presOf" srcId="{06082576-8F86-4409-AA96-956479DE0F0C}" destId="{566BADF3-B8BC-46C8-88CA-68457E622010}" srcOrd="0" destOrd="0" presId="urn:microsoft.com/office/officeart/2005/8/layout/default"/>
    <dgm:cxn modelId="{5A3F645F-59E7-433B-9105-5B644A656AEA}" srcId="{E86DAD94-D56E-4061-ADB9-F4A0E795CC23}" destId="{8D90B27D-3ECE-44AD-9086-8761EE6FD241}" srcOrd="2" destOrd="0" parTransId="{17C3DBA7-3621-41DF-B021-97818B9258C0}" sibTransId="{630CC0A1-3FCC-4D9C-80C4-E2D5C9DA10F8}"/>
    <dgm:cxn modelId="{1E477738-C89C-41DE-86D3-8971D4564C79}" srcId="{E86DAD94-D56E-4061-ADB9-F4A0E795CC23}" destId="{F1B94C4E-855D-4844-B03B-83E23248E01C}" srcOrd="3" destOrd="0" parTransId="{BD1C4316-6194-4BB3-8E60-056D9776CB0C}" sibTransId="{9C6DC9C1-8A0A-4E17-8ED4-198513C12613}"/>
    <dgm:cxn modelId="{C94B593E-AE54-4C02-A9E9-837F181F08F3}" type="presOf" srcId="{F1B94C4E-855D-4844-B03B-83E23248E01C}" destId="{BC8BC3B5-AAB1-4B3A-86BA-8C707C693D53}" srcOrd="0" destOrd="0" presId="urn:microsoft.com/office/officeart/2005/8/layout/default"/>
    <dgm:cxn modelId="{2561223D-1B6C-4815-B5E9-8DCFF33B7E11}" type="presParOf" srcId="{0902FFDD-7C29-4CE5-BE16-BCE1BF05A39D}" destId="{2546D632-0FDF-436E-9D80-354C5C6F8D04}" srcOrd="0" destOrd="0" presId="urn:microsoft.com/office/officeart/2005/8/layout/default"/>
    <dgm:cxn modelId="{9634A375-D6A9-46ED-82FA-F259672B9C23}" type="presParOf" srcId="{0902FFDD-7C29-4CE5-BE16-BCE1BF05A39D}" destId="{3941963D-878F-48B3-8680-A9B9616EC5B0}" srcOrd="1" destOrd="0" presId="urn:microsoft.com/office/officeart/2005/8/layout/default"/>
    <dgm:cxn modelId="{C4788F2F-5C1F-4C03-B592-AC4B9D3583D8}" type="presParOf" srcId="{0902FFDD-7C29-4CE5-BE16-BCE1BF05A39D}" destId="{BAFA04CD-0A01-47FD-8F3A-5BC221B71763}" srcOrd="2" destOrd="0" presId="urn:microsoft.com/office/officeart/2005/8/layout/default"/>
    <dgm:cxn modelId="{0C274EF0-2107-4DF5-BB77-C7F60EF643EE}" type="presParOf" srcId="{0902FFDD-7C29-4CE5-BE16-BCE1BF05A39D}" destId="{B41C51F7-3A27-4F25-8245-0C19FC067BD7}" srcOrd="3" destOrd="0" presId="urn:microsoft.com/office/officeart/2005/8/layout/default"/>
    <dgm:cxn modelId="{61FE0999-DCA5-4139-8C1F-88E4B6612AE1}" type="presParOf" srcId="{0902FFDD-7C29-4CE5-BE16-BCE1BF05A39D}" destId="{FCC14CC0-C52B-45D4-9FF7-717CA904E107}" srcOrd="4" destOrd="0" presId="urn:microsoft.com/office/officeart/2005/8/layout/default"/>
    <dgm:cxn modelId="{FF37C0E5-B178-46CE-8192-CA95589C16E3}" type="presParOf" srcId="{0902FFDD-7C29-4CE5-BE16-BCE1BF05A39D}" destId="{6861C5E9-0E5D-44DA-8B09-CB1297C7120E}" srcOrd="5" destOrd="0" presId="urn:microsoft.com/office/officeart/2005/8/layout/default"/>
    <dgm:cxn modelId="{12DCD31F-D512-4426-98EA-19B549E93E5D}" type="presParOf" srcId="{0902FFDD-7C29-4CE5-BE16-BCE1BF05A39D}" destId="{BC8BC3B5-AAB1-4B3A-86BA-8C707C693D53}" srcOrd="6" destOrd="0" presId="urn:microsoft.com/office/officeart/2005/8/layout/default"/>
    <dgm:cxn modelId="{2E970AFE-9944-434B-A19C-CD133205EB6E}" type="presParOf" srcId="{0902FFDD-7C29-4CE5-BE16-BCE1BF05A39D}" destId="{DD6E6B9B-23E5-4BB8-8054-37A098FEE8FF}" srcOrd="7" destOrd="0" presId="urn:microsoft.com/office/officeart/2005/8/layout/default"/>
    <dgm:cxn modelId="{BB159EAC-DE13-4E2D-B0FE-F579D44134E5}" type="presParOf" srcId="{0902FFDD-7C29-4CE5-BE16-BCE1BF05A39D}" destId="{566BADF3-B8BC-46C8-88CA-68457E62201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56B770E-89F5-427B-AA79-2A0A857B2958}" type="doc">
      <dgm:prSet loTypeId="urn:diagrams.loki3.com/VaryingWidthList" loCatId="list" qsTypeId="urn:microsoft.com/office/officeart/2005/8/quickstyle/simple1" qsCatId="simple" csTypeId="urn:microsoft.com/office/officeart/2005/8/colors/accent1_2" csCatId="accent1" phldr="1"/>
      <dgm:spPr/>
    </dgm:pt>
    <dgm:pt modelId="{CFF7E13A-4179-4DC2-B439-9AD6A6986B80}">
      <dgm:prSet phldrT="[Text]"/>
      <dgm:spPr/>
      <dgm:t>
        <a:bodyPr/>
        <a:lstStyle/>
        <a:p>
          <a:r>
            <a:rPr lang="en-IN" b="0" i="0" dirty="0" smtClean="0">
              <a:solidFill>
                <a:schemeClr val="tx1"/>
              </a:solidFill>
              <a:effectLst/>
              <a:latin typeface="Arial" pitchFamily="34" charset="0"/>
              <a:ea typeface="+mn-ea"/>
              <a:cs typeface="Arial" pitchFamily="34" charset="0"/>
            </a:rPr>
            <a:t>A </a:t>
          </a:r>
          <a:r>
            <a:rPr lang="en-IN" b="1" i="0" dirty="0" smtClean="0">
              <a:solidFill>
                <a:schemeClr val="tx1"/>
              </a:solidFill>
              <a:effectLst/>
              <a:latin typeface="Arial" pitchFamily="34" charset="0"/>
              <a:ea typeface="+mn-ea"/>
              <a:cs typeface="Arial" pitchFamily="34" charset="0"/>
            </a:rPr>
            <a:t>Scheduler</a:t>
          </a:r>
          <a:r>
            <a:rPr lang="en-IN" b="0" i="0" dirty="0" smtClean="0">
              <a:solidFill>
                <a:schemeClr val="tx1"/>
              </a:solidFill>
              <a:effectLst/>
              <a:latin typeface="Arial" pitchFamily="34" charset="0"/>
              <a:ea typeface="+mn-ea"/>
              <a:cs typeface="Arial" pitchFamily="34" charset="0"/>
            </a:rPr>
            <a:t> watches for new requests coming from the API Server and assigns them to healthy nodes. </a:t>
          </a:r>
          <a:endParaRPr lang="en-US" dirty="0"/>
        </a:p>
      </dgm:t>
    </dgm:pt>
    <dgm:pt modelId="{D0077213-E9EF-4B71-B054-8849DD72ECFA}" type="parTrans" cxnId="{151166F4-55C3-4FEE-9303-20CB769F0658}">
      <dgm:prSet/>
      <dgm:spPr/>
      <dgm:t>
        <a:bodyPr/>
        <a:lstStyle/>
        <a:p>
          <a:endParaRPr lang="en-US"/>
        </a:p>
      </dgm:t>
    </dgm:pt>
    <dgm:pt modelId="{F62780D1-686E-4E8A-8227-08888511D856}" type="sibTrans" cxnId="{151166F4-55C3-4FEE-9303-20CB769F0658}">
      <dgm:prSet/>
      <dgm:spPr/>
      <dgm:t>
        <a:bodyPr/>
        <a:lstStyle/>
        <a:p>
          <a:endParaRPr lang="en-US"/>
        </a:p>
      </dgm:t>
    </dgm:pt>
    <dgm:pt modelId="{7EAB77DC-ACF7-4AA7-8223-ACCE1EF5804B}">
      <dgm:prSet phldrT="[Text]"/>
      <dgm:spPr/>
      <dgm:t>
        <a:bodyPr/>
        <a:lstStyle/>
        <a:p>
          <a:r>
            <a:rPr lang="en-IN" b="0" i="0" dirty="0" smtClean="0">
              <a:solidFill>
                <a:schemeClr val="tx1"/>
              </a:solidFill>
              <a:effectLst/>
              <a:latin typeface="Arial" pitchFamily="34" charset="0"/>
              <a:ea typeface="+mn-ea"/>
              <a:cs typeface="Arial" pitchFamily="34" charset="0"/>
            </a:rPr>
            <a:t>It ranks the quality of the nodes and deploys pods to the best-suited node.</a:t>
          </a:r>
          <a:endParaRPr lang="en-US" dirty="0"/>
        </a:p>
      </dgm:t>
    </dgm:pt>
    <dgm:pt modelId="{206D912E-759A-4ABE-80A0-83F2995015E4}" type="parTrans" cxnId="{133A3782-470D-4A12-A03E-8FBCF9FC979D}">
      <dgm:prSet/>
      <dgm:spPr/>
      <dgm:t>
        <a:bodyPr/>
        <a:lstStyle/>
        <a:p>
          <a:endParaRPr lang="en-US"/>
        </a:p>
      </dgm:t>
    </dgm:pt>
    <dgm:pt modelId="{50196BC6-D575-48EE-843D-5F755715B6C4}" type="sibTrans" cxnId="{133A3782-470D-4A12-A03E-8FBCF9FC979D}">
      <dgm:prSet/>
      <dgm:spPr/>
      <dgm:t>
        <a:bodyPr/>
        <a:lstStyle/>
        <a:p>
          <a:endParaRPr lang="en-US"/>
        </a:p>
      </dgm:t>
    </dgm:pt>
    <dgm:pt modelId="{36FD4898-FF99-403E-AA69-DC5CA25F2E84}">
      <dgm:prSet phldrT="[Text]"/>
      <dgm:spPr/>
      <dgm:t>
        <a:bodyPr/>
        <a:lstStyle/>
        <a:p>
          <a:r>
            <a:rPr lang="en-IN" b="0" i="0" dirty="0" smtClean="0">
              <a:solidFill>
                <a:schemeClr val="tx1"/>
              </a:solidFill>
              <a:effectLst/>
              <a:latin typeface="Arial" pitchFamily="34" charset="0"/>
              <a:ea typeface="+mn-ea"/>
              <a:cs typeface="Arial" pitchFamily="34" charset="0"/>
            </a:rPr>
            <a:t>If there are no suitable nodes, the pods are put in a pending state until such a node appears.</a:t>
          </a:r>
          <a:endParaRPr lang="en-US" dirty="0"/>
        </a:p>
      </dgm:t>
    </dgm:pt>
    <dgm:pt modelId="{55A10334-59EE-4ABC-8C47-57BA90C7FCF2}" type="parTrans" cxnId="{DC30EB12-FBBF-4C2F-AF7C-724ABC53FD2C}">
      <dgm:prSet/>
      <dgm:spPr/>
      <dgm:t>
        <a:bodyPr/>
        <a:lstStyle/>
        <a:p>
          <a:endParaRPr lang="en-US"/>
        </a:p>
      </dgm:t>
    </dgm:pt>
    <dgm:pt modelId="{3400BF8C-E002-4290-9966-8817759BBA26}" type="sibTrans" cxnId="{DC30EB12-FBBF-4C2F-AF7C-724ABC53FD2C}">
      <dgm:prSet/>
      <dgm:spPr/>
      <dgm:t>
        <a:bodyPr/>
        <a:lstStyle/>
        <a:p>
          <a:endParaRPr lang="en-US"/>
        </a:p>
      </dgm:t>
    </dgm:pt>
    <dgm:pt modelId="{041FA36C-0DE4-486A-8ADC-58F0BA8F25C3}">
      <dgm:prSet/>
      <dgm:spPr/>
      <dgm:t>
        <a:bodyPr/>
        <a:lstStyle/>
        <a:p>
          <a:endParaRPr lang="en-IN" dirty="0"/>
        </a:p>
      </dgm:t>
    </dgm:pt>
    <dgm:pt modelId="{B70B63F8-B145-43D4-9424-BE2347B60A47}" type="parTrans" cxnId="{4D009DA0-086C-489E-B931-32E94D28D404}">
      <dgm:prSet/>
      <dgm:spPr/>
      <dgm:t>
        <a:bodyPr/>
        <a:lstStyle/>
        <a:p>
          <a:endParaRPr lang="en-US"/>
        </a:p>
      </dgm:t>
    </dgm:pt>
    <dgm:pt modelId="{1A2219E8-7639-43AB-8686-08FD2A0D1C0D}" type="sibTrans" cxnId="{4D009DA0-086C-489E-B931-32E94D28D404}">
      <dgm:prSet/>
      <dgm:spPr/>
      <dgm:t>
        <a:bodyPr/>
        <a:lstStyle/>
        <a:p>
          <a:endParaRPr lang="en-US"/>
        </a:p>
      </dgm:t>
    </dgm:pt>
    <dgm:pt modelId="{AE1446AA-CE79-495E-9ED4-0BC4CA2C4372}" type="pres">
      <dgm:prSet presAssocID="{B56B770E-89F5-427B-AA79-2A0A857B2958}" presName="Name0" presStyleCnt="0">
        <dgm:presLayoutVars>
          <dgm:resizeHandles/>
        </dgm:presLayoutVars>
      </dgm:prSet>
      <dgm:spPr/>
    </dgm:pt>
    <dgm:pt modelId="{CD5AB53D-8506-4B7B-B8C8-F17A8C4225FB}" type="pres">
      <dgm:prSet presAssocID="{CFF7E13A-4179-4DC2-B439-9AD6A6986B80}" presName="text" presStyleLbl="node1" presStyleIdx="0" presStyleCnt="3">
        <dgm:presLayoutVars>
          <dgm:bulletEnabled val="1"/>
        </dgm:presLayoutVars>
      </dgm:prSet>
      <dgm:spPr/>
      <dgm:t>
        <a:bodyPr/>
        <a:lstStyle/>
        <a:p>
          <a:endParaRPr lang="en-US"/>
        </a:p>
      </dgm:t>
    </dgm:pt>
    <dgm:pt modelId="{FFF31AE9-0750-48AC-BDC3-FDC78844C040}" type="pres">
      <dgm:prSet presAssocID="{F62780D1-686E-4E8A-8227-08888511D856}" presName="space" presStyleCnt="0"/>
      <dgm:spPr/>
    </dgm:pt>
    <dgm:pt modelId="{157166B2-57D3-46F1-B296-F57C0FE2AEC7}" type="pres">
      <dgm:prSet presAssocID="{7EAB77DC-ACF7-4AA7-8223-ACCE1EF5804B}" presName="text" presStyleLbl="node1" presStyleIdx="1" presStyleCnt="3">
        <dgm:presLayoutVars>
          <dgm:bulletEnabled val="1"/>
        </dgm:presLayoutVars>
      </dgm:prSet>
      <dgm:spPr/>
      <dgm:t>
        <a:bodyPr/>
        <a:lstStyle/>
        <a:p>
          <a:endParaRPr lang="en-US"/>
        </a:p>
      </dgm:t>
    </dgm:pt>
    <dgm:pt modelId="{077A25E0-E618-401C-88EF-368D10F238DF}" type="pres">
      <dgm:prSet presAssocID="{50196BC6-D575-48EE-843D-5F755715B6C4}" presName="space" presStyleCnt="0"/>
      <dgm:spPr/>
    </dgm:pt>
    <dgm:pt modelId="{B285149F-42CB-42F6-8B31-35CAC3F5EE60}" type="pres">
      <dgm:prSet presAssocID="{36FD4898-FF99-403E-AA69-DC5CA25F2E84}" presName="text" presStyleLbl="node1" presStyleIdx="2" presStyleCnt="3">
        <dgm:presLayoutVars>
          <dgm:bulletEnabled val="1"/>
        </dgm:presLayoutVars>
      </dgm:prSet>
      <dgm:spPr/>
      <dgm:t>
        <a:bodyPr/>
        <a:lstStyle/>
        <a:p>
          <a:endParaRPr lang="en-US"/>
        </a:p>
      </dgm:t>
    </dgm:pt>
  </dgm:ptLst>
  <dgm:cxnLst>
    <dgm:cxn modelId="{133A3782-470D-4A12-A03E-8FBCF9FC979D}" srcId="{B56B770E-89F5-427B-AA79-2A0A857B2958}" destId="{7EAB77DC-ACF7-4AA7-8223-ACCE1EF5804B}" srcOrd="1" destOrd="0" parTransId="{206D912E-759A-4ABE-80A0-83F2995015E4}" sibTransId="{50196BC6-D575-48EE-843D-5F755715B6C4}"/>
    <dgm:cxn modelId="{DC30EB12-FBBF-4C2F-AF7C-724ABC53FD2C}" srcId="{B56B770E-89F5-427B-AA79-2A0A857B2958}" destId="{36FD4898-FF99-403E-AA69-DC5CA25F2E84}" srcOrd="2" destOrd="0" parTransId="{55A10334-59EE-4ABC-8C47-57BA90C7FCF2}" sibTransId="{3400BF8C-E002-4290-9966-8817759BBA26}"/>
    <dgm:cxn modelId="{02E612FD-B9DE-4775-953E-9AC2B2A5191D}" type="presOf" srcId="{041FA36C-0DE4-486A-8ADC-58F0BA8F25C3}" destId="{B285149F-42CB-42F6-8B31-35CAC3F5EE60}" srcOrd="0" destOrd="1" presId="urn:diagrams.loki3.com/VaryingWidthList"/>
    <dgm:cxn modelId="{AB2F9E40-66AE-45D9-B13B-B2FE1B01F97E}" type="presOf" srcId="{CFF7E13A-4179-4DC2-B439-9AD6A6986B80}" destId="{CD5AB53D-8506-4B7B-B8C8-F17A8C4225FB}" srcOrd="0" destOrd="0" presId="urn:diagrams.loki3.com/VaryingWidthList"/>
    <dgm:cxn modelId="{4D009DA0-086C-489E-B931-32E94D28D404}" srcId="{36FD4898-FF99-403E-AA69-DC5CA25F2E84}" destId="{041FA36C-0DE4-486A-8ADC-58F0BA8F25C3}" srcOrd="0" destOrd="0" parTransId="{B70B63F8-B145-43D4-9424-BE2347B60A47}" sibTransId="{1A2219E8-7639-43AB-8686-08FD2A0D1C0D}"/>
    <dgm:cxn modelId="{1EDFB057-9BBC-4657-8F71-DCA71FEA3BC6}" type="presOf" srcId="{7EAB77DC-ACF7-4AA7-8223-ACCE1EF5804B}" destId="{157166B2-57D3-46F1-B296-F57C0FE2AEC7}" srcOrd="0" destOrd="0" presId="urn:diagrams.loki3.com/VaryingWidthList"/>
    <dgm:cxn modelId="{72EE1752-B985-46D7-BFE8-210C81DDDE3E}" type="presOf" srcId="{B56B770E-89F5-427B-AA79-2A0A857B2958}" destId="{AE1446AA-CE79-495E-9ED4-0BC4CA2C4372}" srcOrd="0" destOrd="0" presId="urn:diagrams.loki3.com/VaryingWidthList"/>
    <dgm:cxn modelId="{C279A4E3-1691-453A-ADBC-B3FDAEFC1094}" type="presOf" srcId="{36FD4898-FF99-403E-AA69-DC5CA25F2E84}" destId="{B285149F-42CB-42F6-8B31-35CAC3F5EE60}" srcOrd="0" destOrd="0" presId="urn:diagrams.loki3.com/VaryingWidthList"/>
    <dgm:cxn modelId="{151166F4-55C3-4FEE-9303-20CB769F0658}" srcId="{B56B770E-89F5-427B-AA79-2A0A857B2958}" destId="{CFF7E13A-4179-4DC2-B439-9AD6A6986B80}" srcOrd="0" destOrd="0" parTransId="{D0077213-E9EF-4B71-B054-8849DD72ECFA}" sibTransId="{F62780D1-686E-4E8A-8227-08888511D856}"/>
    <dgm:cxn modelId="{C88CEFF3-3CA7-49D0-BF44-F6AB207BFF11}" type="presParOf" srcId="{AE1446AA-CE79-495E-9ED4-0BC4CA2C4372}" destId="{CD5AB53D-8506-4B7B-B8C8-F17A8C4225FB}" srcOrd="0" destOrd="0" presId="urn:diagrams.loki3.com/VaryingWidthList"/>
    <dgm:cxn modelId="{2EC83CC2-D384-4D34-ADDE-FF0004D75788}" type="presParOf" srcId="{AE1446AA-CE79-495E-9ED4-0BC4CA2C4372}" destId="{FFF31AE9-0750-48AC-BDC3-FDC78844C040}" srcOrd="1" destOrd="0" presId="urn:diagrams.loki3.com/VaryingWidthList"/>
    <dgm:cxn modelId="{07839687-B593-428A-95A8-29CB96752577}" type="presParOf" srcId="{AE1446AA-CE79-495E-9ED4-0BC4CA2C4372}" destId="{157166B2-57D3-46F1-B296-F57C0FE2AEC7}" srcOrd="2" destOrd="0" presId="urn:diagrams.loki3.com/VaryingWidthList"/>
    <dgm:cxn modelId="{C345454E-0907-4D33-A73E-D0FCDBA60586}" type="presParOf" srcId="{AE1446AA-CE79-495E-9ED4-0BC4CA2C4372}" destId="{077A25E0-E618-401C-88EF-368D10F238DF}" srcOrd="3" destOrd="0" presId="urn:diagrams.loki3.com/VaryingWidthList"/>
    <dgm:cxn modelId="{B91299EA-D750-472D-AB06-3722C0E4A3CA}" type="presParOf" srcId="{AE1446AA-CE79-495E-9ED4-0BC4CA2C4372}" destId="{B285149F-42CB-42F6-8B31-35CAC3F5EE60}" srcOrd="4"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56B770E-89F5-427B-AA79-2A0A857B2958}" type="doc">
      <dgm:prSet loTypeId="urn:diagrams.loki3.com/VaryingWidthList" loCatId="list" qsTypeId="urn:microsoft.com/office/officeart/2005/8/quickstyle/simple1" qsCatId="simple" csTypeId="urn:microsoft.com/office/officeart/2005/8/colors/accent1_2" csCatId="accent1" phldr="1"/>
      <dgm:spPr/>
    </dgm:pt>
    <dgm:pt modelId="{CFF7E13A-4179-4DC2-B439-9AD6A6986B80}">
      <dgm:prSet phldrT="[Text]"/>
      <dgm:spPr/>
      <dgm:t>
        <a:bodyPr/>
        <a:lstStyle/>
        <a:p>
          <a:r>
            <a:rPr lang="en-IN" b="0" i="0" dirty="0" smtClean="0"/>
            <a:t>The role of the </a:t>
          </a:r>
          <a:r>
            <a:rPr lang="en-IN" b="1" i="0" dirty="0" smtClean="0"/>
            <a:t>Controller</a:t>
          </a:r>
          <a:r>
            <a:rPr lang="en-IN" b="0" i="0" dirty="0" smtClean="0"/>
            <a:t> is to obtain the desired state from the API Server.</a:t>
          </a:r>
          <a:r>
            <a:rPr lang="en-IN" b="0" i="0" dirty="0" smtClean="0">
              <a:solidFill>
                <a:schemeClr val="tx1"/>
              </a:solidFill>
              <a:effectLst/>
              <a:latin typeface="Arial" pitchFamily="34" charset="0"/>
              <a:ea typeface="+mn-ea"/>
              <a:cs typeface="Arial" pitchFamily="34" charset="0"/>
            </a:rPr>
            <a:t>. </a:t>
          </a:r>
          <a:endParaRPr lang="en-US" dirty="0"/>
        </a:p>
      </dgm:t>
    </dgm:pt>
    <dgm:pt modelId="{D0077213-E9EF-4B71-B054-8849DD72ECFA}" type="parTrans" cxnId="{151166F4-55C3-4FEE-9303-20CB769F0658}">
      <dgm:prSet/>
      <dgm:spPr/>
      <dgm:t>
        <a:bodyPr/>
        <a:lstStyle/>
        <a:p>
          <a:endParaRPr lang="en-US"/>
        </a:p>
      </dgm:t>
    </dgm:pt>
    <dgm:pt modelId="{F62780D1-686E-4E8A-8227-08888511D856}" type="sibTrans" cxnId="{151166F4-55C3-4FEE-9303-20CB769F0658}">
      <dgm:prSet/>
      <dgm:spPr/>
      <dgm:t>
        <a:bodyPr/>
        <a:lstStyle/>
        <a:p>
          <a:endParaRPr lang="en-US"/>
        </a:p>
      </dgm:t>
    </dgm:pt>
    <dgm:pt modelId="{7EAB77DC-ACF7-4AA7-8223-ACCE1EF5804B}">
      <dgm:prSet phldrT="[Text]"/>
      <dgm:spPr/>
      <dgm:t>
        <a:bodyPr/>
        <a:lstStyle/>
        <a:p>
          <a:r>
            <a:rPr lang="en-IN" b="0" i="0" dirty="0" smtClean="0"/>
            <a:t>It checks the current state of the nodes it is tasked to control, and determines if there are any differences, and resolves them, if any.</a:t>
          </a:r>
          <a:endParaRPr lang="en-US" dirty="0"/>
        </a:p>
      </dgm:t>
    </dgm:pt>
    <dgm:pt modelId="{206D912E-759A-4ABE-80A0-83F2995015E4}" type="parTrans" cxnId="{133A3782-470D-4A12-A03E-8FBCF9FC979D}">
      <dgm:prSet/>
      <dgm:spPr/>
      <dgm:t>
        <a:bodyPr/>
        <a:lstStyle/>
        <a:p>
          <a:endParaRPr lang="en-US"/>
        </a:p>
      </dgm:t>
    </dgm:pt>
    <dgm:pt modelId="{50196BC6-D575-48EE-843D-5F755715B6C4}" type="sibTrans" cxnId="{133A3782-470D-4A12-A03E-8FBCF9FC979D}">
      <dgm:prSet/>
      <dgm:spPr/>
      <dgm:t>
        <a:bodyPr/>
        <a:lstStyle/>
        <a:p>
          <a:endParaRPr lang="en-US"/>
        </a:p>
      </dgm:t>
    </dgm:pt>
    <dgm:pt modelId="{AE1446AA-CE79-495E-9ED4-0BC4CA2C4372}" type="pres">
      <dgm:prSet presAssocID="{B56B770E-89F5-427B-AA79-2A0A857B2958}" presName="Name0" presStyleCnt="0">
        <dgm:presLayoutVars>
          <dgm:resizeHandles/>
        </dgm:presLayoutVars>
      </dgm:prSet>
      <dgm:spPr/>
    </dgm:pt>
    <dgm:pt modelId="{CD5AB53D-8506-4B7B-B8C8-F17A8C4225FB}" type="pres">
      <dgm:prSet presAssocID="{CFF7E13A-4179-4DC2-B439-9AD6A6986B80}" presName="text" presStyleLbl="node1" presStyleIdx="0" presStyleCnt="2" custScaleX="123451">
        <dgm:presLayoutVars>
          <dgm:bulletEnabled val="1"/>
        </dgm:presLayoutVars>
      </dgm:prSet>
      <dgm:spPr/>
      <dgm:t>
        <a:bodyPr/>
        <a:lstStyle/>
        <a:p>
          <a:endParaRPr lang="en-US"/>
        </a:p>
      </dgm:t>
    </dgm:pt>
    <dgm:pt modelId="{FFF31AE9-0750-48AC-BDC3-FDC78844C040}" type="pres">
      <dgm:prSet presAssocID="{F62780D1-686E-4E8A-8227-08888511D856}" presName="space" presStyleCnt="0"/>
      <dgm:spPr/>
    </dgm:pt>
    <dgm:pt modelId="{157166B2-57D3-46F1-B296-F57C0FE2AEC7}" type="pres">
      <dgm:prSet presAssocID="{7EAB77DC-ACF7-4AA7-8223-ACCE1EF5804B}" presName="text" presStyleLbl="node1" presStyleIdx="1" presStyleCnt="2" custScaleX="116414">
        <dgm:presLayoutVars>
          <dgm:bulletEnabled val="1"/>
        </dgm:presLayoutVars>
      </dgm:prSet>
      <dgm:spPr/>
      <dgm:t>
        <a:bodyPr/>
        <a:lstStyle/>
        <a:p>
          <a:endParaRPr lang="en-US"/>
        </a:p>
      </dgm:t>
    </dgm:pt>
  </dgm:ptLst>
  <dgm:cxnLst>
    <dgm:cxn modelId="{1EDFB057-9BBC-4657-8F71-DCA71FEA3BC6}" type="presOf" srcId="{7EAB77DC-ACF7-4AA7-8223-ACCE1EF5804B}" destId="{157166B2-57D3-46F1-B296-F57C0FE2AEC7}" srcOrd="0" destOrd="0" presId="urn:diagrams.loki3.com/VaryingWidthList"/>
    <dgm:cxn modelId="{151166F4-55C3-4FEE-9303-20CB769F0658}" srcId="{B56B770E-89F5-427B-AA79-2A0A857B2958}" destId="{CFF7E13A-4179-4DC2-B439-9AD6A6986B80}" srcOrd="0" destOrd="0" parTransId="{D0077213-E9EF-4B71-B054-8849DD72ECFA}" sibTransId="{F62780D1-686E-4E8A-8227-08888511D856}"/>
    <dgm:cxn modelId="{72EE1752-B985-46D7-BFE8-210C81DDDE3E}" type="presOf" srcId="{B56B770E-89F5-427B-AA79-2A0A857B2958}" destId="{AE1446AA-CE79-495E-9ED4-0BC4CA2C4372}" srcOrd="0" destOrd="0" presId="urn:diagrams.loki3.com/VaryingWidthList"/>
    <dgm:cxn modelId="{AB2F9E40-66AE-45D9-B13B-B2FE1B01F97E}" type="presOf" srcId="{CFF7E13A-4179-4DC2-B439-9AD6A6986B80}" destId="{CD5AB53D-8506-4B7B-B8C8-F17A8C4225FB}" srcOrd="0" destOrd="0" presId="urn:diagrams.loki3.com/VaryingWidthList"/>
    <dgm:cxn modelId="{133A3782-470D-4A12-A03E-8FBCF9FC979D}" srcId="{B56B770E-89F5-427B-AA79-2A0A857B2958}" destId="{7EAB77DC-ACF7-4AA7-8223-ACCE1EF5804B}" srcOrd="1" destOrd="0" parTransId="{206D912E-759A-4ABE-80A0-83F2995015E4}" sibTransId="{50196BC6-D575-48EE-843D-5F755715B6C4}"/>
    <dgm:cxn modelId="{C88CEFF3-3CA7-49D0-BF44-F6AB207BFF11}" type="presParOf" srcId="{AE1446AA-CE79-495E-9ED4-0BC4CA2C4372}" destId="{CD5AB53D-8506-4B7B-B8C8-F17A8C4225FB}" srcOrd="0" destOrd="0" presId="urn:diagrams.loki3.com/VaryingWidthList"/>
    <dgm:cxn modelId="{2EC83CC2-D384-4D34-ADDE-FF0004D75788}" type="presParOf" srcId="{AE1446AA-CE79-495E-9ED4-0BC4CA2C4372}" destId="{FFF31AE9-0750-48AC-BDC3-FDC78844C040}" srcOrd="1" destOrd="0" presId="urn:diagrams.loki3.com/VaryingWidthList"/>
    <dgm:cxn modelId="{07839687-B593-428A-95A8-29CB96752577}" type="presParOf" srcId="{AE1446AA-CE79-495E-9ED4-0BC4CA2C4372}" destId="{157166B2-57D3-46F1-B296-F57C0FE2AEC7}" srcOrd="2"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5D084-7BC6-4561-814F-2849CA63EA58}">
      <dsp:nvSpPr>
        <dsp:cNvPr id="0" name=""/>
        <dsp:cNvSpPr/>
      </dsp:nvSpPr>
      <dsp:spPr>
        <a:xfrm>
          <a:off x="712958" y="1299"/>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Architecture &amp; Module Overview</a:t>
          </a:r>
          <a:endParaRPr lang="en-US" sz="2200" kern="1200" dirty="0"/>
        </a:p>
      </dsp:txBody>
      <dsp:txXfrm>
        <a:off x="712958" y="1299"/>
        <a:ext cx="5368583" cy="488053"/>
      </dsp:txXfrm>
    </dsp:sp>
    <dsp:sp modelId="{E01FD87B-14DB-4D5E-8E57-399BE45FB165}">
      <dsp:nvSpPr>
        <dsp:cNvPr id="0" name=""/>
        <dsp:cNvSpPr/>
      </dsp:nvSpPr>
      <dsp:spPr>
        <a:xfrm>
          <a:off x="712958"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B7D716-4B36-4EE9-89A2-D0AAA1AB4764}">
      <dsp:nvSpPr>
        <dsp:cNvPr id="0" name=""/>
        <dsp:cNvSpPr/>
      </dsp:nvSpPr>
      <dsp:spPr>
        <a:xfrm>
          <a:off x="1470524"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9B14CF-2380-4D0A-9AA3-0F66693437B7}">
      <dsp:nvSpPr>
        <dsp:cNvPr id="0" name=""/>
        <dsp:cNvSpPr/>
      </dsp:nvSpPr>
      <dsp:spPr>
        <a:xfrm>
          <a:off x="2228091"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884B77-BF7B-4FC0-9D00-51B5F17EBF7D}">
      <dsp:nvSpPr>
        <dsp:cNvPr id="0" name=""/>
        <dsp:cNvSpPr/>
      </dsp:nvSpPr>
      <dsp:spPr>
        <a:xfrm>
          <a:off x="2985658"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529FEF-28B8-4E34-9C54-CF1E9C9C412B}">
      <dsp:nvSpPr>
        <dsp:cNvPr id="0" name=""/>
        <dsp:cNvSpPr/>
      </dsp:nvSpPr>
      <dsp:spPr>
        <a:xfrm>
          <a:off x="3743225"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C95DA3-A843-4CA2-AC28-E5BDD76F656A}">
      <dsp:nvSpPr>
        <dsp:cNvPr id="0" name=""/>
        <dsp:cNvSpPr/>
      </dsp:nvSpPr>
      <dsp:spPr>
        <a:xfrm>
          <a:off x="4500792"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F6C7A1-CEDA-4597-AD5E-9591CF252A12}">
      <dsp:nvSpPr>
        <dsp:cNvPr id="0" name=""/>
        <dsp:cNvSpPr/>
      </dsp:nvSpPr>
      <dsp:spPr>
        <a:xfrm>
          <a:off x="5258359" y="489352"/>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5BDB8A-8FE2-4A37-A307-C6C400CB4F5B}">
      <dsp:nvSpPr>
        <dsp:cNvPr id="0" name=""/>
        <dsp:cNvSpPr/>
      </dsp:nvSpPr>
      <dsp:spPr>
        <a:xfrm>
          <a:off x="712958" y="678848"/>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Kubernetes Big Picture View</a:t>
          </a:r>
          <a:endParaRPr lang="en-US" sz="2200" kern="1200" dirty="0"/>
        </a:p>
      </dsp:txBody>
      <dsp:txXfrm>
        <a:off x="712958" y="678848"/>
        <a:ext cx="5368583" cy="488053"/>
      </dsp:txXfrm>
    </dsp:sp>
    <dsp:sp modelId="{6394A1DD-BD92-40DC-BE42-398B5A565FF9}">
      <dsp:nvSpPr>
        <dsp:cNvPr id="0" name=""/>
        <dsp:cNvSpPr/>
      </dsp:nvSpPr>
      <dsp:spPr>
        <a:xfrm>
          <a:off x="712958"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F664BD-AA8C-46A2-AE24-F8FCFCA03B45}">
      <dsp:nvSpPr>
        <dsp:cNvPr id="0" name=""/>
        <dsp:cNvSpPr/>
      </dsp:nvSpPr>
      <dsp:spPr>
        <a:xfrm>
          <a:off x="1470524"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DCEDC3-D50E-4FF0-A8D8-012D8CE6059F}">
      <dsp:nvSpPr>
        <dsp:cNvPr id="0" name=""/>
        <dsp:cNvSpPr/>
      </dsp:nvSpPr>
      <dsp:spPr>
        <a:xfrm>
          <a:off x="2228091"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253EC2-2DF2-4C05-857B-E6F486824CB2}">
      <dsp:nvSpPr>
        <dsp:cNvPr id="0" name=""/>
        <dsp:cNvSpPr/>
      </dsp:nvSpPr>
      <dsp:spPr>
        <a:xfrm>
          <a:off x="2985658"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B6026B-9957-4B04-8EB6-17DBE4D7B42F}">
      <dsp:nvSpPr>
        <dsp:cNvPr id="0" name=""/>
        <dsp:cNvSpPr/>
      </dsp:nvSpPr>
      <dsp:spPr>
        <a:xfrm>
          <a:off x="3743225"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0B2300-46C2-459F-AF80-4902EDC8E1BC}">
      <dsp:nvSpPr>
        <dsp:cNvPr id="0" name=""/>
        <dsp:cNvSpPr/>
      </dsp:nvSpPr>
      <dsp:spPr>
        <a:xfrm>
          <a:off x="4500792"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B7A73B-4FDF-467A-9F9D-A2F8BD42DF13}">
      <dsp:nvSpPr>
        <dsp:cNvPr id="0" name=""/>
        <dsp:cNvSpPr/>
      </dsp:nvSpPr>
      <dsp:spPr>
        <a:xfrm>
          <a:off x="5258359" y="1166901"/>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748BDC-6765-4BA8-AC5D-E654A94F3821}">
      <dsp:nvSpPr>
        <dsp:cNvPr id="0" name=""/>
        <dsp:cNvSpPr/>
      </dsp:nvSpPr>
      <dsp:spPr>
        <a:xfrm>
          <a:off x="712958" y="1356397"/>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Kubernetes Masters</a:t>
          </a:r>
          <a:endParaRPr lang="en-US" sz="2200" kern="1200" dirty="0"/>
        </a:p>
      </dsp:txBody>
      <dsp:txXfrm>
        <a:off x="712958" y="1356397"/>
        <a:ext cx="5368583" cy="488053"/>
      </dsp:txXfrm>
    </dsp:sp>
    <dsp:sp modelId="{B23D5DFF-277F-47EC-B766-254B7843A471}">
      <dsp:nvSpPr>
        <dsp:cNvPr id="0" name=""/>
        <dsp:cNvSpPr/>
      </dsp:nvSpPr>
      <dsp:spPr>
        <a:xfrm>
          <a:off x="712958"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C2C858-E7FD-454E-810F-3833E4F6A4FE}">
      <dsp:nvSpPr>
        <dsp:cNvPr id="0" name=""/>
        <dsp:cNvSpPr/>
      </dsp:nvSpPr>
      <dsp:spPr>
        <a:xfrm>
          <a:off x="1470524"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7A7113-372D-4E83-A998-04EBAEA17532}">
      <dsp:nvSpPr>
        <dsp:cNvPr id="0" name=""/>
        <dsp:cNvSpPr/>
      </dsp:nvSpPr>
      <dsp:spPr>
        <a:xfrm>
          <a:off x="2228091"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F9115D-69E8-4929-A843-4DA0FF8D50EC}">
      <dsp:nvSpPr>
        <dsp:cNvPr id="0" name=""/>
        <dsp:cNvSpPr/>
      </dsp:nvSpPr>
      <dsp:spPr>
        <a:xfrm>
          <a:off x="2985658"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AD7304-F4B3-446A-B79E-0F71D30FD4BA}">
      <dsp:nvSpPr>
        <dsp:cNvPr id="0" name=""/>
        <dsp:cNvSpPr/>
      </dsp:nvSpPr>
      <dsp:spPr>
        <a:xfrm>
          <a:off x="3743225"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44AF08-7521-4F1F-B869-FF9FD3CD437B}">
      <dsp:nvSpPr>
        <dsp:cNvPr id="0" name=""/>
        <dsp:cNvSpPr/>
      </dsp:nvSpPr>
      <dsp:spPr>
        <a:xfrm>
          <a:off x="4500792"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4A51C2-27BD-452A-9848-98953F73DAEE}">
      <dsp:nvSpPr>
        <dsp:cNvPr id="0" name=""/>
        <dsp:cNvSpPr/>
      </dsp:nvSpPr>
      <dsp:spPr>
        <a:xfrm>
          <a:off x="5258359" y="1844450"/>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7E7FB8-1F73-4BDE-B97E-89EF340E6C79}">
      <dsp:nvSpPr>
        <dsp:cNvPr id="0" name=""/>
        <dsp:cNvSpPr/>
      </dsp:nvSpPr>
      <dsp:spPr>
        <a:xfrm>
          <a:off x="712958" y="2033946"/>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Kubernetes Nodes</a:t>
          </a:r>
          <a:endParaRPr lang="en-US" sz="2200" kern="1200" dirty="0"/>
        </a:p>
      </dsp:txBody>
      <dsp:txXfrm>
        <a:off x="712958" y="2033946"/>
        <a:ext cx="5368583" cy="488053"/>
      </dsp:txXfrm>
    </dsp:sp>
    <dsp:sp modelId="{B17A0E64-2F7F-4410-AF9A-B2443DA355F4}">
      <dsp:nvSpPr>
        <dsp:cNvPr id="0" name=""/>
        <dsp:cNvSpPr/>
      </dsp:nvSpPr>
      <dsp:spPr>
        <a:xfrm>
          <a:off x="712958"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3060E6-1D08-4545-9833-86AB6BEA93AC}">
      <dsp:nvSpPr>
        <dsp:cNvPr id="0" name=""/>
        <dsp:cNvSpPr/>
      </dsp:nvSpPr>
      <dsp:spPr>
        <a:xfrm>
          <a:off x="1470524"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11CAF1-D925-4558-9B45-C3FC838808B2}">
      <dsp:nvSpPr>
        <dsp:cNvPr id="0" name=""/>
        <dsp:cNvSpPr/>
      </dsp:nvSpPr>
      <dsp:spPr>
        <a:xfrm>
          <a:off x="2228091"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10008F-B4B1-4725-90D8-942B608B2ACF}">
      <dsp:nvSpPr>
        <dsp:cNvPr id="0" name=""/>
        <dsp:cNvSpPr/>
      </dsp:nvSpPr>
      <dsp:spPr>
        <a:xfrm>
          <a:off x="2985658"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4C4818-708B-41F9-BCC5-3E5005F68C11}">
      <dsp:nvSpPr>
        <dsp:cNvPr id="0" name=""/>
        <dsp:cNvSpPr/>
      </dsp:nvSpPr>
      <dsp:spPr>
        <a:xfrm>
          <a:off x="3743225"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84DB7-3AD3-4912-B40E-F3BCFB916A9E}">
      <dsp:nvSpPr>
        <dsp:cNvPr id="0" name=""/>
        <dsp:cNvSpPr/>
      </dsp:nvSpPr>
      <dsp:spPr>
        <a:xfrm>
          <a:off x="4500792"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854234-D552-4DE5-B8C9-E58F1279BE6C}">
      <dsp:nvSpPr>
        <dsp:cNvPr id="0" name=""/>
        <dsp:cNvSpPr/>
      </dsp:nvSpPr>
      <dsp:spPr>
        <a:xfrm>
          <a:off x="5258359" y="2521999"/>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D4BBF9-86C1-46A1-85D7-AB4B9A08027F}">
      <dsp:nvSpPr>
        <dsp:cNvPr id="0" name=""/>
        <dsp:cNvSpPr/>
      </dsp:nvSpPr>
      <dsp:spPr>
        <a:xfrm>
          <a:off x="712958" y="2711495"/>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The Declarative Model and Desired State</a:t>
          </a:r>
          <a:endParaRPr lang="en-US" sz="2200" kern="1200" dirty="0"/>
        </a:p>
      </dsp:txBody>
      <dsp:txXfrm>
        <a:off x="712958" y="2711495"/>
        <a:ext cx="5368583" cy="488053"/>
      </dsp:txXfrm>
    </dsp:sp>
    <dsp:sp modelId="{60E5730D-A2B1-48CA-9C4D-510E4ED154CF}">
      <dsp:nvSpPr>
        <dsp:cNvPr id="0" name=""/>
        <dsp:cNvSpPr/>
      </dsp:nvSpPr>
      <dsp:spPr>
        <a:xfrm>
          <a:off x="712958"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FBA239-A48A-4D33-8137-43BED3732530}">
      <dsp:nvSpPr>
        <dsp:cNvPr id="0" name=""/>
        <dsp:cNvSpPr/>
      </dsp:nvSpPr>
      <dsp:spPr>
        <a:xfrm>
          <a:off x="1470524"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05BDBC-4A05-4E21-8401-5F35D8230C76}">
      <dsp:nvSpPr>
        <dsp:cNvPr id="0" name=""/>
        <dsp:cNvSpPr/>
      </dsp:nvSpPr>
      <dsp:spPr>
        <a:xfrm>
          <a:off x="2228091"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8A6E6F-F4D7-4796-A54D-B5B7B7536E69}">
      <dsp:nvSpPr>
        <dsp:cNvPr id="0" name=""/>
        <dsp:cNvSpPr/>
      </dsp:nvSpPr>
      <dsp:spPr>
        <a:xfrm>
          <a:off x="2985658"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5DE1A5-521B-413F-9CBA-A7114D9DA3D6}">
      <dsp:nvSpPr>
        <dsp:cNvPr id="0" name=""/>
        <dsp:cNvSpPr/>
      </dsp:nvSpPr>
      <dsp:spPr>
        <a:xfrm>
          <a:off x="3743225"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9B03A-56A8-48CF-9B2C-16C4FA44F06E}">
      <dsp:nvSpPr>
        <dsp:cNvPr id="0" name=""/>
        <dsp:cNvSpPr/>
      </dsp:nvSpPr>
      <dsp:spPr>
        <a:xfrm>
          <a:off x="4500792"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6D40E1-18B8-4C7A-941A-8AB559BE591C}">
      <dsp:nvSpPr>
        <dsp:cNvPr id="0" name=""/>
        <dsp:cNvSpPr/>
      </dsp:nvSpPr>
      <dsp:spPr>
        <a:xfrm>
          <a:off x="5258359" y="3199548"/>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F9AF49-0EE7-445A-B548-205E3112AE43}">
      <dsp:nvSpPr>
        <dsp:cNvPr id="0" name=""/>
        <dsp:cNvSpPr/>
      </dsp:nvSpPr>
      <dsp:spPr>
        <a:xfrm>
          <a:off x="712958" y="3389044"/>
          <a:ext cx="5368583" cy="48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Kubernetes Pods</a:t>
          </a:r>
          <a:endParaRPr lang="en-US" sz="2200" kern="1200" dirty="0"/>
        </a:p>
      </dsp:txBody>
      <dsp:txXfrm>
        <a:off x="712958" y="3389044"/>
        <a:ext cx="5368583" cy="488053"/>
      </dsp:txXfrm>
    </dsp:sp>
    <dsp:sp modelId="{71965718-DCD2-42AB-9610-F4A9ED8ECE8C}">
      <dsp:nvSpPr>
        <dsp:cNvPr id="0" name=""/>
        <dsp:cNvSpPr/>
      </dsp:nvSpPr>
      <dsp:spPr>
        <a:xfrm>
          <a:off x="712958"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DBA777-B381-4E6B-8AC4-01DD91CC0200}">
      <dsp:nvSpPr>
        <dsp:cNvPr id="0" name=""/>
        <dsp:cNvSpPr/>
      </dsp:nvSpPr>
      <dsp:spPr>
        <a:xfrm>
          <a:off x="1470524"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9CE54D-1C09-4815-9C51-749E83358774}">
      <dsp:nvSpPr>
        <dsp:cNvPr id="0" name=""/>
        <dsp:cNvSpPr/>
      </dsp:nvSpPr>
      <dsp:spPr>
        <a:xfrm>
          <a:off x="2228091"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C9FB50-BE5E-413E-9B3D-85556C2CBF4E}">
      <dsp:nvSpPr>
        <dsp:cNvPr id="0" name=""/>
        <dsp:cNvSpPr/>
      </dsp:nvSpPr>
      <dsp:spPr>
        <a:xfrm>
          <a:off x="2985658"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B12738-59B5-4974-8DF2-CE81F6E7DE99}">
      <dsp:nvSpPr>
        <dsp:cNvPr id="0" name=""/>
        <dsp:cNvSpPr/>
      </dsp:nvSpPr>
      <dsp:spPr>
        <a:xfrm>
          <a:off x="3743225"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2BB8DE-E363-4940-8530-19AAC9154A7E}">
      <dsp:nvSpPr>
        <dsp:cNvPr id="0" name=""/>
        <dsp:cNvSpPr/>
      </dsp:nvSpPr>
      <dsp:spPr>
        <a:xfrm>
          <a:off x="4500792"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B6ACB9-1F60-44A4-A9EA-14F21F88A1A9}">
      <dsp:nvSpPr>
        <dsp:cNvPr id="0" name=""/>
        <dsp:cNvSpPr/>
      </dsp:nvSpPr>
      <dsp:spPr>
        <a:xfrm>
          <a:off x="5258359" y="3877097"/>
          <a:ext cx="715811" cy="119301"/>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56358-D990-414A-A2AA-6808AD41F3CF}">
      <dsp:nvSpPr>
        <dsp:cNvPr id="0" name=""/>
        <dsp:cNvSpPr/>
      </dsp:nvSpPr>
      <dsp:spPr>
        <a:xfrm>
          <a:off x="351913" y="2038"/>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Stable Networking with Kubernetes Services</a:t>
          </a:r>
          <a:endParaRPr lang="en-US" sz="2200" kern="1200" dirty="0"/>
        </a:p>
      </dsp:txBody>
      <dsp:txXfrm>
        <a:off x="351913" y="2038"/>
        <a:ext cx="5872076" cy="533825"/>
      </dsp:txXfrm>
    </dsp:sp>
    <dsp:sp modelId="{73EE8E2D-6812-40FB-AAE5-CE9CDC54C68B}">
      <dsp:nvSpPr>
        <dsp:cNvPr id="0" name=""/>
        <dsp:cNvSpPr/>
      </dsp:nvSpPr>
      <dsp:spPr>
        <a:xfrm>
          <a:off x="351913"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435188-FFC6-4458-9920-18C48127181C}">
      <dsp:nvSpPr>
        <dsp:cNvPr id="0" name=""/>
        <dsp:cNvSpPr/>
      </dsp:nvSpPr>
      <dsp:spPr>
        <a:xfrm>
          <a:off x="1180528"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016C47-552A-4EAC-91E4-1D5442C86F5B}">
      <dsp:nvSpPr>
        <dsp:cNvPr id="0" name=""/>
        <dsp:cNvSpPr/>
      </dsp:nvSpPr>
      <dsp:spPr>
        <a:xfrm>
          <a:off x="2009144"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DCAEA6-20DB-459D-8638-2095852E5087}">
      <dsp:nvSpPr>
        <dsp:cNvPr id="0" name=""/>
        <dsp:cNvSpPr/>
      </dsp:nvSpPr>
      <dsp:spPr>
        <a:xfrm>
          <a:off x="2837759"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2134F3-43D3-4FB7-B7AD-27D514D796D0}">
      <dsp:nvSpPr>
        <dsp:cNvPr id="0" name=""/>
        <dsp:cNvSpPr/>
      </dsp:nvSpPr>
      <dsp:spPr>
        <a:xfrm>
          <a:off x="3666374"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D13CB1-BCDF-4B2F-927A-42061F45252D}">
      <dsp:nvSpPr>
        <dsp:cNvPr id="0" name=""/>
        <dsp:cNvSpPr/>
      </dsp:nvSpPr>
      <dsp:spPr>
        <a:xfrm>
          <a:off x="4494990"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A25E16-7DF4-498C-B0BE-E53C4594E1A5}">
      <dsp:nvSpPr>
        <dsp:cNvPr id="0" name=""/>
        <dsp:cNvSpPr/>
      </dsp:nvSpPr>
      <dsp:spPr>
        <a:xfrm>
          <a:off x="5323605" y="535863"/>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A5D084-7BC6-4561-814F-2849CA63EA58}">
      <dsp:nvSpPr>
        <dsp:cNvPr id="0" name=""/>
        <dsp:cNvSpPr/>
      </dsp:nvSpPr>
      <dsp:spPr>
        <a:xfrm>
          <a:off x="351913" y="754251"/>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Game Changing Deployments</a:t>
          </a:r>
          <a:endParaRPr lang="en-US" sz="2200" kern="1200" dirty="0"/>
        </a:p>
      </dsp:txBody>
      <dsp:txXfrm>
        <a:off x="351913" y="754251"/>
        <a:ext cx="5872076" cy="533825"/>
      </dsp:txXfrm>
    </dsp:sp>
    <dsp:sp modelId="{E01FD87B-14DB-4D5E-8E57-399BE45FB165}">
      <dsp:nvSpPr>
        <dsp:cNvPr id="0" name=""/>
        <dsp:cNvSpPr/>
      </dsp:nvSpPr>
      <dsp:spPr>
        <a:xfrm>
          <a:off x="351913"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B7D716-4B36-4EE9-89A2-D0AAA1AB4764}">
      <dsp:nvSpPr>
        <dsp:cNvPr id="0" name=""/>
        <dsp:cNvSpPr/>
      </dsp:nvSpPr>
      <dsp:spPr>
        <a:xfrm>
          <a:off x="1180528"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9B14CF-2380-4D0A-9AA3-0F66693437B7}">
      <dsp:nvSpPr>
        <dsp:cNvPr id="0" name=""/>
        <dsp:cNvSpPr/>
      </dsp:nvSpPr>
      <dsp:spPr>
        <a:xfrm>
          <a:off x="2009144"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884B77-BF7B-4FC0-9D00-51B5F17EBF7D}">
      <dsp:nvSpPr>
        <dsp:cNvPr id="0" name=""/>
        <dsp:cNvSpPr/>
      </dsp:nvSpPr>
      <dsp:spPr>
        <a:xfrm>
          <a:off x="2837759"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529FEF-28B8-4E34-9C54-CF1E9C9C412B}">
      <dsp:nvSpPr>
        <dsp:cNvPr id="0" name=""/>
        <dsp:cNvSpPr/>
      </dsp:nvSpPr>
      <dsp:spPr>
        <a:xfrm>
          <a:off x="3666374"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C95DA3-A843-4CA2-AC28-E5BDD76F656A}">
      <dsp:nvSpPr>
        <dsp:cNvPr id="0" name=""/>
        <dsp:cNvSpPr/>
      </dsp:nvSpPr>
      <dsp:spPr>
        <a:xfrm>
          <a:off x="4494990"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F6C7A1-CEDA-4597-AD5E-9591CF252A12}">
      <dsp:nvSpPr>
        <dsp:cNvPr id="0" name=""/>
        <dsp:cNvSpPr/>
      </dsp:nvSpPr>
      <dsp:spPr>
        <a:xfrm>
          <a:off x="5323605" y="1288076"/>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748BDC-6765-4BA8-AC5D-E654A94F3821}">
      <dsp:nvSpPr>
        <dsp:cNvPr id="0" name=""/>
        <dsp:cNvSpPr/>
      </dsp:nvSpPr>
      <dsp:spPr>
        <a:xfrm>
          <a:off x="351913" y="1506464"/>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The Kubernetes API and API Server</a:t>
          </a:r>
          <a:endParaRPr lang="en-US" sz="2200" kern="1200" dirty="0"/>
        </a:p>
      </dsp:txBody>
      <dsp:txXfrm>
        <a:off x="351913" y="1506464"/>
        <a:ext cx="5872076" cy="533825"/>
      </dsp:txXfrm>
    </dsp:sp>
    <dsp:sp modelId="{B23D5DFF-277F-47EC-B766-254B7843A471}">
      <dsp:nvSpPr>
        <dsp:cNvPr id="0" name=""/>
        <dsp:cNvSpPr/>
      </dsp:nvSpPr>
      <dsp:spPr>
        <a:xfrm>
          <a:off x="351913"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C2C858-E7FD-454E-810F-3833E4F6A4FE}">
      <dsp:nvSpPr>
        <dsp:cNvPr id="0" name=""/>
        <dsp:cNvSpPr/>
      </dsp:nvSpPr>
      <dsp:spPr>
        <a:xfrm>
          <a:off x="1180528"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7A7113-372D-4E83-A998-04EBAEA17532}">
      <dsp:nvSpPr>
        <dsp:cNvPr id="0" name=""/>
        <dsp:cNvSpPr/>
      </dsp:nvSpPr>
      <dsp:spPr>
        <a:xfrm>
          <a:off x="2009144"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F9115D-69E8-4929-A843-4DA0FF8D50EC}">
      <dsp:nvSpPr>
        <dsp:cNvPr id="0" name=""/>
        <dsp:cNvSpPr/>
      </dsp:nvSpPr>
      <dsp:spPr>
        <a:xfrm>
          <a:off x="2837759"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AD7304-F4B3-446A-B79E-0F71D30FD4BA}">
      <dsp:nvSpPr>
        <dsp:cNvPr id="0" name=""/>
        <dsp:cNvSpPr/>
      </dsp:nvSpPr>
      <dsp:spPr>
        <a:xfrm>
          <a:off x="3666374"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44AF08-7521-4F1F-B869-FF9FD3CD437B}">
      <dsp:nvSpPr>
        <dsp:cNvPr id="0" name=""/>
        <dsp:cNvSpPr/>
      </dsp:nvSpPr>
      <dsp:spPr>
        <a:xfrm>
          <a:off x="4494990"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4A51C2-27BD-452A-9848-98953F73DAEE}">
      <dsp:nvSpPr>
        <dsp:cNvPr id="0" name=""/>
        <dsp:cNvSpPr/>
      </dsp:nvSpPr>
      <dsp:spPr>
        <a:xfrm>
          <a:off x="5323605" y="2040289"/>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7E7FB8-1F73-4BDE-B97E-89EF340E6C79}">
      <dsp:nvSpPr>
        <dsp:cNvPr id="0" name=""/>
        <dsp:cNvSpPr/>
      </dsp:nvSpPr>
      <dsp:spPr>
        <a:xfrm>
          <a:off x="351913" y="2258677"/>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Scheduler</a:t>
          </a:r>
          <a:endParaRPr lang="en-US" sz="2200" kern="1200" dirty="0"/>
        </a:p>
      </dsp:txBody>
      <dsp:txXfrm>
        <a:off x="351913" y="2258677"/>
        <a:ext cx="5872076" cy="533825"/>
      </dsp:txXfrm>
    </dsp:sp>
    <dsp:sp modelId="{B17A0E64-2F7F-4410-AF9A-B2443DA355F4}">
      <dsp:nvSpPr>
        <dsp:cNvPr id="0" name=""/>
        <dsp:cNvSpPr/>
      </dsp:nvSpPr>
      <dsp:spPr>
        <a:xfrm>
          <a:off x="351913"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3060E6-1D08-4545-9833-86AB6BEA93AC}">
      <dsp:nvSpPr>
        <dsp:cNvPr id="0" name=""/>
        <dsp:cNvSpPr/>
      </dsp:nvSpPr>
      <dsp:spPr>
        <a:xfrm>
          <a:off x="1180528"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11CAF1-D925-4558-9B45-C3FC838808B2}">
      <dsp:nvSpPr>
        <dsp:cNvPr id="0" name=""/>
        <dsp:cNvSpPr/>
      </dsp:nvSpPr>
      <dsp:spPr>
        <a:xfrm>
          <a:off x="2009144"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10008F-B4B1-4725-90D8-942B608B2ACF}">
      <dsp:nvSpPr>
        <dsp:cNvPr id="0" name=""/>
        <dsp:cNvSpPr/>
      </dsp:nvSpPr>
      <dsp:spPr>
        <a:xfrm>
          <a:off x="2837759"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4C4818-708B-41F9-BCC5-3E5005F68C11}">
      <dsp:nvSpPr>
        <dsp:cNvPr id="0" name=""/>
        <dsp:cNvSpPr/>
      </dsp:nvSpPr>
      <dsp:spPr>
        <a:xfrm>
          <a:off x="3666374"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84DB7-3AD3-4912-B40E-F3BCFB916A9E}">
      <dsp:nvSpPr>
        <dsp:cNvPr id="0" name=""/>
        <dsp:cNvSpPr/>
      </dsp:nvSpPr>
      <dsp:spPr>
        <a:xfrm>
          <a:off x="4494990"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854234-D552-4DE5-B8C9-E58F1279BE6C}">
      <dsp:nvSpPr>
        <dsp:cNvPr id="0" name=""/>
        <dsp:cNvSpPr/>
      </dsp:nvSpPr>
      <dsp:spPr>
        <a:xfrm>
          <a:off x="5323605" y="2792502"/>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FEF2A5-8C22-489A-AFC9-B299E7858259}">
      <dsp:nvSpPr>
        <dsp:cNvPr id="0" name=""/>
        <dsp:cNvSpPr/>
      </dsp:nvSpPr>
      <dsp:spPr>
        <a:xfrm>
          <a:off x="351913" y="3010889"/>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Controller Manager</a:t>
          </a:r>
          <a:endParaRPr lang="en-US" sz="2200" kern="1200" dirty="0"/>
        </a:p>
      </dsp:txBody>
      <dsp:txXfrm>
        <a:off x="351913" y="3010889"/>
        <a:ext cx="5872076" cy="533825"/>
      </dsp:txXfrm>
    </dsp:sp>
    <dsp:sp modelId="{7C1BAF8C-7C61-4904-A1CB-4F7EBEBD148F}">
      <dsp:nvSpPr>
        <dsp:cNvPr id="0" name=""/>
        <dsp:cNvSpPr/>
      </dsp:nvSpPr>
      <dsp:spPr>
        <a:xfrm>
          <a:off x="351913"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378F01-4977-4699-901A-DCC418FE836A}">
      <dsp:nvSpPr>
        <dsp:cNvPr id="0" name=""/>
        <dsp:cNvSpPr/>
      </dsp:nvSpPr>
      <dsp:spPr>
        <a:xfrm>
          <a:off x="1180528"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F1B0A3-52A8-44CE-91F1-AA33ADE1D63B}">
      <dsp:nvSpPr>
        <dsp:cNvPr id="0" name=""/>
        <dsp:cNvSpPr/>
      </dsp:nvSpPr>
      <dsp:spPr>
        <a:xfrm>
          <a:off x="2009144"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458437-E16B-4FA7-A607-E195AAA522DE}">
      <dsp:nvSpPr>
        <dsp:cNvPr id="0" name=""/>
        <dsp:cNvSpPr/>
      </dsp:nvSpPr>
      <dsp:spPr>
        <a:xfrm>
          <a:off x="2837759"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3071A9-5E3D-4C45-A591-D64B2052514D}">
      <dsp:nvSpPr>
        <dsp:cNvPr id="0" name=""/>
        <dsp:cNvSpPr/>
      </dsp:nvSpPr>
      <dsp:spPr>
        <a:xfrm>
          <a:off x="3666374"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A5F382-E1C8-4C93-9FF7-4B8843E5AB35}">
      <dsp:nvSpPr>
        <dsp:cNvPr id="0" name=""/>
        <dsp:cNvSpPr/>
      </dsp:nvSpPr>
      <dsp:spPr>
        <a:xfrm>
          <a:off x="4494990"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4F91EE-3659-4890-A42F-A8390AA14599}">
      <dsp:nvSpPr>
        <dsp:cNvPr id="0" name=""/>
        <dsp:cNvSpPr/>
      </dsp:nvSpPr>
      <dsp:spPr>
        <a:xfrm>
          <a:off x="5323605" y="3544714"/>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D4BBF9-86C1-46A1-85D7-AB4B9A08027F}">
      <dsp:nvSpPr>
        <dsp:cNvPr id="0" name=""/>
        <dsp:cNvSpPr/>
      </dsp:nvSpPr>
      <dsp:spPr>
        <a:xfrm>
          <a:off x="351913" y="3763102"/>
          <a:ext cx="5872076" cy="5338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lvl="0" algn="l" defTabSz="977900">
            <a:lnSpc>
              <a:spcPct val="90000"/>
            </a:lnSpc>
            <a:spcBef>
              <a:spcPct val="0"/>
            </a:spcBef>
            <a:spcAft>
              <a:spcPct val="35000"/>
            </a:spcAft>
          </a:pPr>
          <a:r>
            <a:rPr lang="en-US" sz="2200" kern="1200" dirty="0" smtClean="0">
              <a:solidFill>
                <a:schemeClr val="tx1"/>
              </a:solidFill>
              <a:effectLst/>
              <a:latin typeface="Arial" pitchFamily="34" charset="0"/>
              <a:ea typeface="+mn-ea"/>
              <a:cs typeface="Arial" pitchFamily="34" charset="0"/>
            </a:rPr>
            <a:t>etcd - the cluster brain</a:t>
          </a:r>
          <a:endParaRPr lang="en-US" sz="2200" kern="1200" dirty="0"/>
        </a:p>
      </dsp:txBody>
      <dsp:txXfrm>
        <a:off x="351913" y="3763102"/>
        <a:ext cx="5872076" cy="533825"/>
      </dsp:txXfrm>
    </dsp:sp>
    <dsp:sp modelId="{60E5730D-A2B1-48CA-9C4D-510E4ED154CF}">
      <dsp:nvSpPr>
        <dsp:cNvPr id="0" name=""/>
        <dsp:cNvSpPr/>
      </dsp:nvSpPr>
      <dsp:spPr>
        <a:xfrm>
          <a:off x="351913"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FBA239-A48A-4D33-8137-43BED3732530}">
      <dsp:nvSpPr>
        <dsp:cNvPr id="0" name=""/>
        <dsp:cNvSpPr/>
      </dsp:nvSpPr>
      <dsp:spPr>
        <a:xfrm>
          <a:off x="1180528"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05BDBC-4A05-4E21-8401-5F35D8230C76}">
      <dsp:nvSpPr>
        <dsp:cNvPr id="0" name=""/>
        <dsp:cNvSpPr/>
      </dsp:nvSpPr>
      <dsp:spPr>
        <a:xfrm>
          <a:off x="2009144"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8A6E6F-F4D7-4796-A54D-B5B7B7536E69}">
      <dsp:nvSpPr>
        <dsp:cNvPr id="0" name=""/>
        <dsp:cNvSpPr/>
      </dsp:nvSpPr>
      <dsp:spPr>
        <a:xfrm>
          <a:off x="2837759"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5DE1A5-521B-413F-9CBA-A7114D9DA3D6}">
      <dsp:nvSpPr>
        <dsp:cNvPr id="0" name=""/>
        <dsp:cNvSpPr/>
      </dsp:nvSpPr>
      <dsp:spPr>
        <a:xfrm>
          <a:off x="3666374"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9B03A-56A8-48CF-9B2C-16C4FA44F06E}">
      <dsp:nvSpPr>
        <dsp:cNvPr id="0" name=""/>
        <dsp:cNvSpPr/>
      </dsp:nvSpPr>
      <dsp:spPr>
        <a:xfrm>
          <a:off x="4494990"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6D40E1-18B8-4C7A-941A-8AB559BE591C}">
      <dsp:nvSpPr>
        <dsp:cNvPr id="0" name=""/>
        <dsp:cNvSpPr/>
      </dsp:nvSpPr>
      <dsp:spPr>
        <a:xfrm>
          <a:off x="5323605" y="4296927"/>
          <a:ext cx="782943" cy="130490"/>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FD7DA1-A560-4F90-9EFD-5BB81EF03060}">
      <dsp:nvSpPr>
        <dsp:cNvPr id="0" name=""/>
        <dsp:cNvSpPr/>
      </dsp:nvSpPr>
      <dsp:spPr>
        <a:xfrm>
          <a:off x="0" y="374551"/>
          <a:ext cx="8323263"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25B842-E52D-4F65-A895-CC7B3D5E2864}">
      <dsp:nvSpPr>
        <dsp:cNvPr id="0" name=""/>
        <dsp:cNvSpPr/>
      </dsp:nvSpPr>
      <dsp:spPr>
        <a:xfrm>
          <a:off x="416163" y="49831"/>
          <a:ext cx="5826284" cy="64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20" tIns="0" rIns="220220" bIns="0" numCol="1" spcCol="1270" anchor="ctr" anchorCtr="0">
          <a:noAutofit/>
        </a:bodyPr>
        <a:lstStyle/>
        <a:p>
          <a:pPr lvl="0" algn="l" defTabSz="977900">
            <a:lnSpc>
              <a:spcPct val="90000"/>
            </a:lnSpc>
            <a:spcBef>
              <a:spcPct val="0"/>
            </a:spcBef>
            <a:spcAft>
              <a:spcPct val="35000"/>
            </a:spcAft>
          </a:pPr>
          <a:r>
            <a:rPr lang="en-IN" sz="2200" b="0" i="0" kern="1200" dirty="0" err="1" smtClean="0"/>
            <a:t>kube-apiserver</a:t>
          </a:r>
          <a:endParaRPr lang="en-US" sz="2200" kern="1200" dirty="0"/>
        </a:p>
      </dsp:txBody>
      <dsp:txXfrm>
        <a:off x="447866" y="81534"/>
        <a:ext cx="5762878" cy="586034"/>
      </dsp:txXfrm>
    </dsp:sp>
    <dsp:sp modelId="{5F5BFE78-C1B2-4F72-9B67-8D08F5DC209F}">
      <dsp:nvSpPr>
        <dsp:cNvPr id="0" name=""/>
        <dsp:cNvSpPr/>
      </dsp:nvSpPr>
      <dsp:spPr>
        <a:xfrm>
          <a:off x="0" y="1372471"/>
          <a:ext cx="8323263"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AB7EEA-C82F-459B-BBC8-74A2D76BECEF}">
      <dsp:nvSpPr>
        <dsp:cNvPr id="0" name=""/>
        <dsp:cNvSpPr/>
      </dsp:nvSpPr>
      <dsp:spPr>
        <a:xfrm>
          <a:off x="416163" y="1047751"/>
          <a:ext cx="5826284" cy="64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20" tIns="0" rIns="220220" bIns="0" numCol="1" spcCol="1270" anchor="ctr" anchorCtr="0">
          <a:noAutofit/>
        </a:bodyPr>
        <a:lstStyle/>
        <a:p>
          <a:pPr lvl="0" algn="l" defTabSz="977900">
            <a:lnSpc>
              <a:spcPct val="90000"/>
            </a:lnSpc>
            <a:spcBef>
              <a:spcPct val="0"/>
            </a:spcBef>
            <a:spcAft>
              <a:spcPct val="35000"/>
            </a:spcAft>
          </a:pPr>
          <a:r>
            <a:rPr lang="en-US" sz="2200" kern="1200" dirty="0" err="1" smtClean="0"/>
            <a:t>etcd</a:t>
          </a:r>
          <a:endParaRPr lang="en-US" sz="2200" kern="1200" dirty="0"/>
        </a:p>
      </dsp:txBody>
      <dsp:txXfrm>
        <a:off x="447866" y="1079454"/>
        <a:ext cx="5762878" cy="586034"/>
      </dsp:txXfrm>
    </dsp:sp>
    <dsp:sp modelId="{62DD1048-C3F5-4C49-8866-FC24AFF6AC75}">
      <dsp:nvSpPr>
        <dsp:cNvPr id="0" name=""/>
        <dsp:cNvSpPr/>
      </dsp:nvSpPr>
      <dsp:spPr>
        <a:xfrm>
          <a:off x="0" y="2370391"/>
          <a:ext cx="8323263"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3C37CF-1BEE-46BE-9EF2-A610FFC34BE7}">
      <dsp:nvSpPr>
        <dsp:cNvPr id="0" name=""/>
        <dsp:cNvSpPr/>
      </dsp:nvSpPr>
      <dsp:spPr>
        <a:xfrm>
          <a:off x="416163" y="2045671"/>
          <a:ext cx="5826284" cy="64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20" tIns="0" rIns="220220" bIns="0" numCol="1" spcCol="1270" anchor="ctr" anchorCtr="0">
          <a:noAutofit/>
        </a:bodyPr>
        <a:lstStyle/>
        <a:p>
          <a:pPr lvl="0" algn="l" defTabSz="977900">
            <a:lnSpc>
              <a:spcPct val="90000"/>
            </a:lnSpc>
            <a:spcBef>
              <a:spcPct val="0"/>
            </a:spcBef>
            <a:spcAft>
              <a:spcPct val="35000"/>
            </a:spcAft>
          </a:pPr>
          <a:r>
            <a:rPr lang="en-IN" sz="2200" b="0" i="0" kern="1200" dirty="0" err="1" smtClean="0"/>
            <a:t>kube</a:t>
          </a:r>
          <a:r>
            <a:rPr lang="en-IN" sz="2200" b="0" i="0" kern="1200" dirty="0" smtClean="0"/>
            <a:t>-scheduler</a:t>
          </a:r>
          <a:endParaRPr lang="en-US" sz="2200" kern="1200" dirty="0"/>
        </a:p>
      </dsp:txBody>
      <dsp:txXfrm>
        <a:off x="447866" y="2077374"/>
        <a:ext cx="5762878" cy="586034"/>
      </dsp:txXfrm>
    </dsp:sp>
    <dsp:sp modelId="{9CD4F949-65C5-4F6D-9C4F-46BB89CA6309}">
      <dsp:nvSpPr>
        <dsp:cNvPr id="0" name=""/>
        <dsp:cNvSpPr/>
      </dsp:nvSpPr>
      <dsp:spPr>
        <a:xfrm>
          <a:off x="0" y="3368311"/>
          <a:ext cx="8323263"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6D2A14-C31C-4CF3-99C8-113C4C1DB150}">
      <dsp:nvSpPr>
        <dsp:cNvPr id="0" name=""/>
        <dsp:cNvSpPr/>
      </dsp:nvSpPr>
      <dsp:spPr>
        <a:xfrm>
          <a:off x="416163" y="3043591"/>
          <a:ext cx="5826284" cy="64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20" tIns="0" rIns="220220" bIns="0" numCol="1" spcCol="1270" anchor="ctr" anchorCtr="0">
          <a:noAutofit/>
        </a:bodyPr>
        <a:lstStyle/>
        <a:p>
          <a:pPr lvl="0" algn="l" defTabSz="977900">
            <a:lnSpc>
              <a:spcPct val="90000"/>
            </a:lnSpc>
            <a:spcBef>
              <a:spcPct val="0"/>
            </a:spcBef>
            <a:spcAft>
              <a:spcPct val="35000"/>
            </a:spcAft>
          </a:pPr>
          <a:r>
            <a:rPr lang="en-IN" sz="2200" b="0" i="0" kern="1200" smtClean="0"/>
            <a:t>kube-controller-manager</a:t>
          </a:r>
          <a:endParaRPr lang="en-US" sz="2200" kern="1200" dirty="0"/>
        </a:p>
      </dsp:txBody>
      <dsp:txXfrm>
        <a:off x="447866" y="3075294"/>
        <a:ext cx="5762878" cy="586034"/>
      </dsp:txXfrm>
    </dsp:sp>
    <dsp:sp modelId="{EE3C7160-9F54-461D-AD6C-0146D9A516F6}">
      <dsp:nvSpPr>
        <dsp:cNvPr id="0" name=""/>
        <dsp:cNvSpPr/>
      </dsp:nvSpPr>
      <dsp:spPr>
        <a:xfrm>
          <a:off x="0" y="4366231"/>
          <a:ext cx="8323263"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2E33BD-CB64-47DF-937D-BDCE21315FCB}">
      <dsp:nvSpPr>
        <dsp:cNvPr id="0" name=""/>
        <dsp:cNvSpPr/>
      </dsp:nvSpPr>
      <dsp:spPr>
        <a:xfrm>
          <a:off x="416163" y="4041511"/>
          <a:ext cx="5826284" cy="64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20" tIns="0" rIns="220220" bIns="0" numCol="1" spcCol="1270" anchor="ctr" anchorCtr="0">
          <a:noAutofit/>
        </a:bodyPr>
        <a:lstStyle/>
        <a:p>
          <a:pPr lvl="0" algn="l" defTabSz="977900">
            <a:lnSpc>
              <a:spcPct val="90000"/>
            </a:lnSpc>
            <a:spcBef>
              <a:spcPct val="0"/>
            </a:spcBef>
            <a:spcAft>
              <a:spcPct val="35000"/>
            </a:spcAft>
          </a:pPr>
          <a:r>
            <a:rPr lang="en-IN" sz="2200" b="0" i="0" kern="1200" smtClean="0"/>
            <a:t>cloud-controller-manager</a:t>
          </a:r>
          <a:endParaRPr lang="en-US" sz="2200" kern="1200" dirty="0"/>
        </a:p>
      </dsp:txBody>
      <dsp:txXfrm>
        <a:off x="447866" y="4073214"/>
        <a:ext cx="5762878" cy="5860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46D632-0FDF-436E-9D80-354C5C6F8D04}">
      <dsp:nvSpPr>
        <dsp:cNvPr id="0" name=""/>
        <dsp:cNvSpPr/>
      </dsp:nvSpPr>
      <dsp:spPr>
        <a:xfrm>
          <a:off x="59845" y="1146"/>
          <a:ext cx="3764055" cy="18242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1-Declare desire state of miroservice application in the manifest file</a:t>
          </a:r>
          <a:endParaRPr lang="en-US" sz="1800" kern="1200" dirty="0"/>
        </a:p>
      </dsp:txBody>
      <dsp:txXfrm>
        <a:off x="59845" y="1146"/>
        <a:ext cx="3764055" cy="1824274"/>
      </dsp:txXfrm>
    </dsp:sp>
    <dsp:sp modelId="{BAFA04CD-0A01-47FD-8F3A-5BC221B71763}">
      <dsp:nvSpPr>
        <dsp:cNvPr id="0" name=""/>
        <dsp:cNvSpPr/>
      </dsp:nvSpPr>
      <dsp:spPr>
        <a:xfrm>
          <a:off x="4127946" y="1146"/>
          <a:ext cx="3994674" cy="18242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2-Post it to the API Server</a:t>
          </a:r>
          <a:endParaRPr lang="en-US" sz="1800" kern="1200" dirty="0"/>
        </a:p>
      </dsp:txBody>
      <dsp:txXfrm>
        <a:off x="4127946" y="1146"/>
        <a:ext cx="3994674" cy="1824274"/>
      </dsp:txXfrm>
    </dsp:sp>
    <dsp:sp modelId="{FCC14CC0-C52B-45D4-9FF7-717CA904E107}">
      <dsp:nvSpPr>
        <dsp:cNvPr id="0" name=""/>
        <dsp:cNvSpPr/>
      </dsp:nvSpPr>
      <dsp:spPr>
        <a:xfrm>
          <a:off x="155148" y="2181166"/>
          <a:ext cx="3737299" cy="18242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3-Kubernetes stores it in the cluster store as the application’s desired state</a:t>
          </a:r>
          <a:endParaRPr lang="en-US" sz="1800" kern="1200" dirty="0"/>
        </a:p>
      </dsp:txBody>
      <dsp:txXfrm>
        <a:off x="155148" y="2181166"/>
        <a:ext cx="3737299" cy="1824274"/>
      </dsp:txXfrm>
    </dsp:sp>
    <dsp:sp modelId="{BC8BC3B5-AAB1-4B3A-86BA-8C707C693D53}">
      <dsp:nvSpPr>
        <dsp:cNvPr id="0" name=""/>
        <dsp:cNvSpPr/>
      </dsp:nvSpPr>
      <dsp:spPr>
        <a:xfrm>
          <a:off x="4215283" y="2129466"/>
          <a:ext cx="3793244" cy="18242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4-Kubernetes implements the desired state on the cluster</a:t>
          </a:r>
          <a:endParaRPr lang="en-US" sz="1800" kern="1200" dirty="0"/>
        </a:p>
      </dsp:txBody>
      <dsp:txXfrm>
        <a:off x="4215283" y="2129466"/>
        <a:ext cx="3793244" cy="1824274"/>
      </dsp:txXfrm>
    </dsp:sp>
    <dsp:sp modelId="{566BADF3-B8BC-46C8-88CA-68457E622010}">
      <dsp:nvSpPr>
        <dsp:cNvPr id="0" name=""/>
        <dsp:cNvSpPr/>
      </dsp:nvSpPr>
      <dsp:spPr>
        <a:xfrm>
          <a:off x="2090931" y="4113066"/>
          <a:ext cx="3959253" cy="12911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5-Kubernetes implements the watch loop to make sure the current state of application does not vary from the desired state.</a:t>
          </a:r>
          <a:endParaRPr lang="en-US" sz="1800" kern="1200" dirty="0"/>
        </a:p>
      </dsp:txBody>
      <dsp:txXfrm>
        <a:off x="2090931" y="4113066"/>
        <a:ext cx="3959253" cy="12911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5AB53D-8506-4B7B-B8C8-F17A8C4225FB}">
      <dsp:nvSpPr>
        <dsp:cNvPr id="0" name=""/>
        <dsp:cNvSpPr/>
      </dsp:nvSpPr>
      <dsp:spPr>
        <a:xfrm>
          <a:off x="663000" y="2829"/>
          <a:ext cx="4770000" cy="18674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1333500">
            <a:lnSpc>
              <a:spcPct val="90000"/>
            </a:lnSpc>
            <a:spcBef>
              <a:spcPct val="0"/>
            </a:spcBef>
            <a:spcAft>
              <a:spcPct val="35000"/>
            </a:spcAft>
          </a:pPr>
          <a:r>
            <a:rPr lang="en-IN" sz="3000" b="0" i="0" kern="1200" dirty="0" smtClean="0">
              <a:solidFill>
                <a:schemeClr val="tx1"/>
              </a:solidFill>
              <a:effectLst/>
              <a:latin typeface="Arial" pitchFamily="34" charset="0"/>
              <a:ea typeface="+mn-ea"/>
              <a:cs typeface="Arial" pitchFamily="34" charset="0"/>
            </a:rPr>
            <a:t>A </a:t>
          </a:r>
          <a:r>
            <a:rPr lang="en-IN" sz="3000" b="1" i="0" kern="1200" dirty="0" smtClean="0">
              <a:solidFill>
                <a:schemeClr val="tx1"/>
              </a:solidFill>
              <a:effectLst/>
              <a:latin typeface="Arial" pitchFamily="34" charset="0"/>
              <a:ea typeface="+mn-ea"/>
              <a:cs typeface="Arial" pitchFamily="34" charset="0"/>
            </a:rPr>
            <a:t>Scheduler</a:t>
          </a:r>
          <a:r>
            <a:rPr lang="en-IN" sz="3000" b="0" i="0" kern="1200" dirty="0" smtClean="0">
              <a:solidFill>
                <a:schemeClr val="tx1"/>
              </a:solidFill>
              <a:effectLst/>
              <a:latin typeface="Arial" pitchFamily="34" charset="0"/>
              <a:ea typeface="+mn-ea"/>
              <a:cs typeface="Arial" pitchFamily="34" charset="0"/>
            </a:rPr>
            <a:t> watches for new requests coming from the API Server and assigns them to healthy nodes. </a:t>
          </a:r>
          <a:endParaRPr lang="en-US" sz="3000" kern="1200" dirty="0"/>
        </a:p>
      </dsp:txBody>
      <dsp:txXfrm>
        <a:off x="663000" y="2829"/>
        <a:ext cx="4770000" cy="1867488"/>
      </dsp:txXfrm>
    </dsp:sp>
    <dsp:sp modelId="{157166B2-57D3-46F1-B296-F57C0FE2AEC7}">
      <dsp:nvSpPr>
        <dsp:cNvPr id="0" name=""/>
        <dsp:cNvSpPr/>
      </dsp:nvSpPr>
      <dsp:spPr>
        <a:xfrm>
          <a:off x="1293000" y="1963692"/>
          <a:ext cx="3510000" cy="18674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1333500">
            <a:lnSpc>
              <a:spcPct val="90000"/>
            </a:lnSpc>
            <a:spcBef>
              <a:spcPct val="0"/>
            </a:spcBef>
            <a:spcAft>
              <a:spcPct val="35000"/>
            </a:spcAft>
          </a:pPr>
          <a:r>
            <a:rPr lang="en-IN" sz="3000" b="0" i="0" kern="1200" dirty="0" smtClean="0">
              <a:solidFill>
                <a:schemeClr val="tx1"/>
              </a:solidFill>
              <a:effectLst/>
              <a:latin typeface="Arial" pitchFamily="34" charset="0"/>
              <a:ea typeface="+mn-ea"/>
              <a:cs typeface="Arial" pitchFamily="34" charset="0"/>
            </a:rPr>
            <a:t>It ranks the quality of the nodes and deploys pods to the best-suited node.</a:t>
          </a:r>
          <a:endParaRPr lang="en-US" sz="3000" kern="1200" dirty="0"/>
        </a:p>
      </dsp:txBody>
      <dsp:txXfrm>
        <a:off x="1293000" y="1963692"/>
        <a:ext cx="3510000" cy="1867488"/>
      </dsp:txXfrm>
    </dsp:sp>
    <dsp:sp modelId="{B285149F-42CB-42F6-8B31-35CAC3F5EE60}">
      <dsp:nvSpPr>
        <dsp:cNvPr id="0" name=""/>
        <dsp:cNvSpPr/>
      </dsp:nvSpPr>
      <dsp:spPr>
        <a:xfrm>
          <a:off x="258000" y="3924555"/>
          <a:ext cx="5580000" cy="18674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1333500">
            <a:lnSpc>
              <a:spcPct val="90000"/>
            </a:lnSpc>
            <a:spcBef>
              <a:spcPct val="0"/>
            </a:spcBef>
            <a:spcAft>
              <a:spcPct val="35000"/>
            </a:spcAft>
          </a:pPr>
          <a:r>
            <a:rPr lang="en-IN" sz="3000" b="0" i="0" kern="1200" dirty="0" smtClean="0">
              <a:solidFill>
                <a:schemeClr val="tx1"/>
              </a:solidFill>
              <a:effectLst/>
              <a:latin typeface="Arial" pitchFamily="34" charset="0"/>
              <a:ea typeface="+mn-ea"/>
              <a:cs typeface="Arial" pitchFamily="34" charset="0"/>
            </a:rPr>
            <a:t>If there are no suitable nodes, the pods are put in a pending state until such a node appears.</a:t>
          </a:r>
          <a:endParaRPr lang="en-US" sz="3000" kern="1200" dirty="0"/>
        </a:p>
        <a:p>
          <a:pPr marL="228600" lvl="1" indent="-228600" algn="l" defTabSz="1022350">
            <a:lnSpc>
              <a:spcPct val="90000"/>
            </a:lnSpc>
            <a:spcBef>
              <a:spcPct val="0"/>
            </a:spcBef>
            <a:spcAft>
              <a:spcPct val="15000"/>
            </a:spcAft>
            <a:buChar char="••"/>
          </a:pPr>
          <a:endParaRPr lang="en-IN" sz="2300" kern="1200" dirty="0"/>
        </a:p>
      </dsp:txBody>
      <dsp:txXfrm>
        <a:off x="258000" y="3924555"/>
        <a:ext cx="5580000" cy="18674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5AB53D-8506-4B7B-B8C8-F17A8C4225FB}">
      <dsp:nvSpPr>
        <dsp:cNvPr id="0" name=""/>
        <dsp:cNvSpPr/>
      </dsp:nvSpPr>
      <dsp:spPr>
        <a:xfrm>
          <a:off x="1159199" y="47"/>
          <a:ext cx="3777600" cy="191312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IN" sz="2500" b="0" i="0" kern="1200" dirty="0" smtClean="0"/>
            <a:t>The role of the </a:t>
          </a:r>
          <a:r>
            <a:rPr lang="en-IN" sz="2500" b="1" i="0" kern="1200" dirty="0" smtClean="0"/>
            <a:t>Controller</a:t>
          </a:r>
          <a:r>
            <a:rPr lang="en-IN" sz="2500" b="0" i="0" kern="1200" dirty="0" smtClean="0"/>
            <a:t> is to obtain the desired state from the API Server.</a:t>
          </a:r>
          <a:r>
            <a:rPr lang="en-IN" sz="2500" b="0" i="0" kern="1200" dirty="0" smtClean="0">
              <a:solidFill>
                <a:schemeClr val="tx1"/>
              </a:solidFill>
              <a:effectLst/>
              <a:latin typeface="Arial" pitchFamily="34" charset="0"/>
              <a:ea typeface="+mn-ea"/>
              <a:cs typeface="Arial" pitchFamily="34" charset="0"/>
            </a:rPr>
            <a:t>. </a:t>
          </a:r>
          <a:endParaRPr lang="en-US" sz="2500" kern="1200" dirty="0"/>
        </a:p>
      </dsp:txBody>
      <dsp:txXfrm>
        <a:off x="1159199" y="47"/>
        <a:ext cx="3777600" cy="1913126"/>
      </dsp:txXfrm>
    </dsp:sp>
    <dsp:sp modelId="{157166B2-57D3-46F1-B296-F57C0FE2AEC7}">
      <dsp:nvSpPr>
        <dsp:cNvPr id="0" name=""/>
        <dsp:cNvSpPr/>
      </dsp:nvSpPr>
      <dsp:spPr>
        <a:xfrm>
          <a:off x="481071" y="2008831"/>
          <a:ext cx="5133857" cy="191312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IN" sz="2500" b="0" i="0" kern="1200" dirty="0" smtClean="0"/>
            <a:t>It checks the current state of the nodes it is tasked to control, and determines if there are any differences, and resolves them, if any.</a:t>
          </a:r>
          <a:endParaRPr lang="en-US" sz="2500" kern="1200" dirty="0"/>
        </a:p>
      </dsp:txBody>
      <dsp:txXfrm>
        <a:off x="481071" y="2008831"/>
        <a:ext cx="5133857" cy="1913126"/>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6.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7/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61954"/>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8510"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The Persistence Life Cycl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docs.docker.com/engine/" TargetMode="External"/><Relationship Id="rId3" Type="http://schemas.openxmlformats.org/officeDocument/2006/relationships/hyperlink" Target="https://kubernetes.io/docs/concepts/architecture/nodes/" TargetMode="External"/><Relationship Id="rId7" Type="http://schemas.openxmlformats.org/officeDocument/2006/relationships/hyperlink" Target="https://kubernetes.io/docs/reference/command-line-tools-reference/kube-proxy/"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kubernetes.io/docs/concepts/services-networking/service/" TargetMode="External"/><Relationship Id="rId11" Type="http://schemas.openxmlformats.org/officeDocument/2006/relationships/hyperlink" Target="https://github.com/kubernetes/community/blob/master/contributors/devel/sig-node/container-runtime-interface.md" TargetMode="External"/><Relationship Id="rId5" Type="http://schemas.openxmlformats.org/officeDocument/2006/relationships/hyperlink" Target="https://kubernetes.io/docs/concepts/workloads/pods/" TargetMode="External"/><Relationship Id="rId10" Type="http://schemas.openxmlformats.org/officeDocument/2006/relationships/hyperlink" Target="https://cri-o.io/#what-is-cri-o" TargetMode="External"/><Relationship Id="rId4" Type="http://schemas.openxmlformats.org/officeDocument/2006/relationships/hyperlink" Target="https://kubernetes.io/docs/concepts/containers/" TargetMode="External"/><Relationship Id="rId9" Type="http://schemas.openxmlformats.org/officeDocument/2006/relationships/hyperlink" Target="https://containerd.io/doc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kubernetes.io/docs/concepts/architecture/nodes/"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kubernetes.io/docs/reference/glossary/?all=true#term-control-plane" TargetMode="External"/><Relationship Id="rId4" Type="http://schemas.openxmlformats.org/officeDocument/2006/relationships/hyperlink" Target="https://kubernetes.io/docs/concepts/workloads/pods/"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kubernetes.io/docs/concepts/architecture/controller/" TargetMode="External"/><Relationship Id="rId3" Type="http://schemas.openxmlformats.org/officeDocument/2006/relationships/hyperlink" Target="https://kubernetes.io/docs/concepts/workloads/pods/" TargetMode="External"/><Relationship Id="rId7" Type="http://schemas.openxmlformats.org/officeDocument/2006/relationships/hyperlink" Target="https://kubernetes.io/docs/concepts/architecture/nodes/"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kubernetes.io/docs/tasks/administer-cluster/configure-upgrade-etcd/#backing-up-an-etcd-cluster" TargetMode="External"/><Relationship Id="rId5" Type="http://schemas.openxmlformats.org/officeDocument/2006/relationships/hyperlink" Target="https://kubernetes.io/docs/reference/generated/kube-apiserver/" TargetMode="External"/><Relationship Id="rId4" Type="http://schemas.openxmlformats.org/officeDocument/2006/relationships/hyperlink" Target="https://kubernetes.io/docs/reference/glossary/?all=true#term-control-plane"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phoenixnap.com/kb/prometheus-kubernetes-monitoring"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47824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IN" sz="1000" b="1" i="0" kern="1200" dirty="0" smtClean="0">
                <a:solidFill>
                  <a:schemeClr val="tx1"/>
                </a:solidFill>
                <a:effectLst/>
                <a:latin typeface="Arial" pitchFamily="34" charset="0"/>
                <a:ea typeface="+mn-ea"/>
                <a:cs typeface="Arial" pitchFamily="34" charset="0"/>
              </a:rPr>
              <a:t>1) </a:t>
            </a:r>
            <a:r>
              <a:rPr lang="en-IN" sz="1000" b="1" i="0" kern="1200" dirty="0" err="1" smtClean="0">
                <a:solidFill>
                  <a:schemeClr val="tx1"/>
                </a:solidFill>
                <a:effectLst/>
                <a:latin typeface="Arial" pitchFamily="34" charset="0"/>
                <a:ea typeface="+mn-ea"/>
                <a:cs typeface="Arial" pitchFamily="34" charset="0"/>
              </a:rPr>
              <a:t>kubelet</a:t>
            </a:r>
            <a:endParaRPr lang="en-IN" sz="1000" b="1"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	An agent that runs on each </a:t>
            </a:r>
            <a:r>
              <a:rPr lang="en-IN" sz="1000" b="0" i="0" u="none" strike="noStrike" kern="1200" dirty="0" smtClean="0">
                <a:solidFill>
                  <a:schemeClr val="tx1"/>
                </a:solidFill>
                <a:effectLst/>
                <a:latin typeface="Arial" pitchFamily="34" charset="0"/>
                <a:ea typeface="+mn-ea"/>
                <a:cs typeface="Arial" pitchFamily="34" charset="0"/>
                <a:hlinkClick r:id="rId3"/>
              </a:rPr>
              <a:t>node</a:t>
            </a:r>
            <a:r>
              <a:rPr lang="en-IN" sz="1000" b="0" i="0" kern="1200" dirty="0" smtClean="0">
                <a:solidFill>
                  <a:schemeClr val="tx1"/>
                </a:solidFill>
                <a:effectLst/>
                <a:latin typeface="Arial" pitchFamily="34" charset="0"/>
                <a:ea typeface="+mn-ea"/>
                <a:cs typeface="Arial" pitchFamily="34" charset="0"/>
              </a:rPr>
              <a:t> in the cluster. It makes sure that </a:t>
            </a:r>
            <a:r>
              <a:rPr lang="en-IN" sz="1000" b="0" i="0" u="none" strike="noStrike" kern="1200" dirty="0" smtClean="0">
                <a:solidFill>
                  <a:schemeClr val="tx1"/>
                </a:solidFill>
                <a:effectLst/>
                <a:latin typeface="Arial" pitchFamily="34" charset="0"/>
                <a:ea typeface="+mn-ea"/>
                <a:cs typeface="Arial" pitchFamily="34" charset="0"/>
                <a:hlinkClick r:id="rId4"/>
              </a:rPr>
              <a:t>containers</a:t>
            </a:r>
            <a:r>
              <a:rPr lang="en-IN" sz="1000" b="0" i="0" kern="1200" dirty="0" smtClean="0">
                <a:solidFill>
                  <a:schemeClr val="tx1"/>
                </a:solidFill>
                <a:effectLst/>
                <a:latin typeface="Arial" pitchFamily="34" charset="0"/>
                <a:ea typeface="+mn-ea"/>
                <a:cs typeface="Arial" pitchFamily="34" charset="0"/>
              </a:rPr>
              <a:t> are running in a </a:t>
            </a:r>
            <a:r>
              <a:rPr lang="en-IN" sz="1000" b="0" i="0" u="none" strike="noStrike" kern="1200" dirty="0" smtClean="0">
                <a:solidFill>
                  <a:schemeClr val="tx1"/>
                </a:solidFill>
                <a:effectLst/>
                <a:latin typeface="Arial" pitchFamily="34" charset="0"/>
                <a:ea typeface="+mn-ea"/>
                <a:cs typeface="Arial" pitchFamily="34" charset="0"/>
                <a:hlinkClick r:id="rId5"/>
              </a:rPr>
              <a:t>Pod</a:t>
            </a:r>
            <a:r>
              <a:rPr lang="en-IN" sz="1000" b="0" i="0" kern="1200" dirty="0" smtClean="0">
                <a:solidFill>
                  <a:schemeClr val="tx1"/>
                </a:solidFill>
                <a:effectLst/>
                <a:latin typeface="Arial" pitchFamily="34" charset="0"/>
                <a:ea typeface="+mn-ea"/>
                <a:cs typeface="Arial" pitchFamily="34" charset="0"/>
              </a:rPr>
              <a:t>.</a:t>
            </a:r>
          </a:p>
          <a:p>
            <a:r>
              <a:rPr lang="en-IN" sz="1000" b="0" i="0" kern="1200" dirty="0" smtClean="0">
                <a:solidFill>
                  <a:schemeClr val="tx1"/>
                </a:solidFill>
                <a:effectLst/>
                <a:latin typeface="Arial" pitchFamily="34" charset="0"/>
                <a:ea typeface="+mn-ea"/>
                <a:cs typeface="Arial" pitchFamily="34" charset="0"/>
              </a:rPr>
              <a:t>	The </a:t>
            </a:r>
            <a:r>
              <a:rPr lang="en-IN" sz="1000" b="0" i="0" kern="1200" dirty="0" err="1" smtClean="0">
                <a:solidFill>
                  <a:schemeClr val="tx1"/>
                </a:solidFill>
                <a:effectLst/>
                <a:latin typeface="Arial" pitchFamily="34" charset="0"/>
                <a:ea typeface="+mn-ea"/>
                <a:cs typeface="Arial" pitchFamily="34" charset="0"/>
              </a:rPr>
              <a:t>kubelet</a:t>
            </a:r>
            <a:r>
              <a:rPr lang="en-IN" sz="1000" b="0" i="0" kern="1200" dirty="0" smtClean="0">
                <a:solidFill>
                  <a:schemeClr val="tx1"/>
                </a:solidFill>
                <a:effectLst/>
                <a:latin typeface="Arial" pitchFamily="34" charset="0"/>
                <a:ea typeface="+mn-ea"/>
                <a:cs typeface="Arial" pitchFamily="34" charset="0"/>
              </a:rPr>
              <a:t> takes a set of </a:t>
            </a:r>
            <a:r>
              <a:rPr lang="en-IN" sz="1000" b="0" i="0" kern="1200" dirty="0" err="1" smtClean="0">
                <a:solidFill>
                  <a:schemeClr val="tx1"/>
                </a:solidFill>
                <a:effectLst/>
                <a:latin typeface="Arial" pitchFamily="34" charset="0"/>
                <a:ea typeface="+mn-ea"/>
                <a:cs typeface="Arial" pitchFamily="34" charset="0"/>
              </a:rPr>
              <a:t>PodSpecs</a:t>
            </a:r>
            <a:r>
              <a:rPr lang="en-IN" sz="1000" b="0" i="0" kern="1200" dirty="0" smtClean="0">
                <a:solidFill>
                  <a:schemeClr val="tx1"/>
                </a:solidFill>
                <a:effectLst/>
                <a:latin typeface="Arial" pitchFamily="34" charset="0"/>
                <a:ea typeface="+mn-ea"/>
                <a:cs typeface="Arial" pitchFamily="34" charset="0"/>
              </a:rPr>
              <a:t> that are provided through various mechanisms and ensures that the containers described in those </a:t>
            </a:r>
            <a:r>
              <a:rPr lang="en-IN" sz="1000" b="0" i="0" kern="1200" dirty="0" err="1" smtClean="0">
                <a:solidFill>
                  <a:schemeClr val="tx1"/>
                </a:solidFill>
                <a:effectLst/>
                <a:latin typeface="Arial" pitchFamily="34" charset="0"/>
                <a:ea typeface="+mn-ea"/>
                <a:cs typeface="Arial" pitchFamily="34" charset="0"/>
              </a:rPr>
              <a:t>PodSpecs</a:t>
            </a:r>
            <a:r>
              <a:rPr lang="en-IN" sz="1000" b="0" i="0" kern="1200" dirty="0" smtClean="0">
                <a:solidFill>
                  <a:schemeClr val="tx1"/>
                </a:solidFill>
                <a:effectLst/>
                <a:latin typeface="Arial" pitchFamily="34" charset="0"/>
                <a:ea typeface="+mn-ea"/>
                <a:cs typeface="Arial" pitchFamily="34" charset="0"/>
              </a:rPr>
              <a:t> are 	running and healthy. The </a:t>
            </a:r>
            <a:r>
              <a:rPr lang="en-IN" sz="1000" b="0" i="0" kern="1200" dirty="0" err="1" smtClean="0">
                <a:solidFill>
                  <a:schemeClr val="tx1"/>
                </a:solidFill>
                <a:effectLst/>
                <a:latin typeface="Arial" pitchFamily="34" charset="0"/>
                <a:ea typeface="+mn-ea"/>
                <a:cs typeface="Arial" pitchFamily="34" charset="0"/>
              </a:rPr>
              <a:t>kubelet</a:t>
            </a:r>
            <a:r>
              <a:rPr lang="en-IN" sz="1000" b="0" i="0" kern="1200" dirty="0" smtClean="0">
                <a:solidFill>
                  <a:schemeClr val="tx1"/>
                </a:solidFill>
                <a:effectLst/>
                <a:latin typeface="Arial" pitchFamily="34" charset="0"/>
                <a:ea typeface="+mn-ea"/>
                <a:cs typeface="Arial" pitchFamily="34" charset="0"/>
              </a:rPr>
              <a:t> doesn't manage containers which were not created by Kubernetes.</a:t>
            </a:r>
          </a:p>
          <a:p>
            <a:r>
              <a:rPr lang="en-IN" sz="1000" b="1" i="0" kern="1200" dirty="0" smtClean="0">
                <a:solidFill>
                  <a:schemeClr val="tx1"/>
                </a:solidFill>
                <a:effectLst/>
                <a:latin typeface="Arial" pitchFamily="34" charset="0"/>
                <a:ea typeface="+mn-ea"/>
                <a:cs typeface="Arial" pitchFamily="34" charset="0"/>
              </a:rPr>
              <a:t>2)</a:t>
            </a:r>
            <a:r>
              <a:rPr lang="en-IN" sz="1000" b="1" i="0" kern="1200" dirty="0" err="1" smtClean="0">
                <a:solidFill>
                  <a:schemeClr val="tx1"/>
                </a:solidFill>
                <a:effectLst/>
                <a:latin typeface="Arial" pitchFamily="34" charset="0"/>
                <a:ea typeface="+mn-ea"/>
                <a:cs typeface="Arial" pitchFamily="34" charset="0"/>
              </a:rPr>
              <a:t>kube</a:t>
            </a:r>
            <a:r>
              <a:rPr lang="en-IN" sz="1000" b="1" i="0" kern="1200" dirty="0" smtClean="0">
                <a:solidFill>
                  <a:schemeClr val="tx1"/>
                </a:solidFill>
                <a:effectLst/>
                <a:latin typeface="Arial" pitchFamily="34" charset="0"/>
                <a:ea typeface="+mn-ea"/>
                <a:cs typeface="Arial" pitchFamily="34" charset="0"/>
              </a:rPr>
              <a:t>-proxy</a:t>
            </a:r>
          </a:p>
          <a:p>
            <a:r>
              <a:rPr lang="en-IN" sz="1000" b="0" i="0" kern="1200" dirty="0" smtClean="0">
                <a:solidFill>
                  <a:schemeClr val="tx1"/>
                </a:solidFill>
                <a:effectLst/>
                <a:latin typeface="Arial" pitchFamily="34" charset="0"/>
                <a:ea typeface="+mn-ea"/>
                <a:cs typeface="Arial" pitchFamily="34" charset="0"/>
              </a:rPr>
              <a:t>	</a:t>
            </a:r>
            <a:r>
              <a:rPr lang="en-IN" sz="1000" b="0" i="0" kern="1200" dirty="0" err="1" smtClean="0">
                <a:solidFill>
                  <a:schemeClr val="tx1"/>
                </a:solidFill>
                <a:effectLst/>
                <a:latin typeface="Arial" pitchFamily="34" charset="0"/>
                <a:ea typeface="+mn-ea"/>
                <a:cs typeface="Arial" pitchFamily="34" charset="0"/>
              </a:rPr>
              <a:t>kube</a:t>
            </a:r>
            <a:r>
              <a:rPr lang="en-IN" sz="1000" b="0" i="0" kern="1200" dirty="0" smtClean="0">
                <a:solidFill>
                  <a:schemeClr val="tx1"/>
                </a:solidFill>
                <a:effectLst/>
                <a:latin typeface="Arial" pitchFamily="34" charset="0"/>
                <a:ea typeface="+mn-ea"/>
                <a:cs typeface="Arial" pitchFamily="34" charset="0"/>
              </a:rPr>
              <a:t>-proxy is a network proxy that runs on each </a:t>
            </a:r>
            <a:r>
              <a:rPr lang="en-IN" sz="1000" b="0" i="0" u="none" strike="noStrike" kern="1200" dirty="0" smtClean="0">
                <a:solidFill>
                  <a:schemeClr val="tx1"/>
                </a:solidFill>
                <a:effectLst/>
                <a:latin typeface="Arial" pitchFamily="34" charset="0"/>
                <a:ea typeface="+mn-ea"/>
                <a:cs typeface="Arial" pitchFamily="34" charset="0"/>
                <a:hlinkClick r:id="rId3"/>
              </a:rPr>
              <a:t>node</a:t>
            </a:r>
            <a:r>
              <a:rPr lang="en-IN" sz="1000" b="0" i="0" kern="1200" dirty="0" smtClean="0">
                <a:solidFill>
                  <a:schemeClr val="tx1"/>
                </a:solidFill>
                <a:effectLst/>
                <a:latin typeface="Arial" pitchFamily="34" charset="0"/>
                <a:ea typeface="+mn-ea"/>
                <a:cs typeface="Arial" pitchFamily="34" charset="0"/>
              </a:rPr>
              <a:t> in your cluster, implementing part of the Kubernetes </a:t>
            </a:r>
            <a:r>
              <a:rPr lang="en-IN" sz="1000" b="0" i="0" u="none" strike="noStrike" kern="1200" dirty="0" smtClean="0">
                <a:solidFill>
                  <a:schemeClr val="tx1"/>
                </a:solidFill>
                <a:effectLst/>
                <a:latin typeface="Arial" pitchFamily="34" charset="0"/>
                <a:ea typeface="+mn-ea"/>
                <a:cs typeface="Arial" pitchFamily="34" charset="0"/>
                <a:hlinkClick r:id="rId6"/>
              </a:rPr>
              <a:t>Service</a:t>
            </a:r>
            <a:r>
              <a:rPr lang="en-IN" sz="1000" b="0" i="0" kern="120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concept.</a:t>
            </a:r>
          </a:p>
          <a:p>
            <a:r>
              <a:rPr lang="en-IN" sz="1000" b="0" i="0" u="none" strike="noStrike" kern="1200" dirty="0" err="1" smtClean="0">
                <a:solidFill>
                  <a:schemeClr val="tx1"/>
                </a:solidFill>
                <a:effectLst/>
                <a:latin typeface="Arial" pitchFamily="34" charset="0"/>
                <a:ea typeface="+mn-ea"/>
                <a:cs typeface="Arial" pitchFamily="34" charset="0"/>
                <a:hlinkClick r:id="rId7"/>
              </a:rPr>
              <a:t>kube</a:t>
            </a:r>
            <a:r>
              <a:rPr lang="en-IN" sz="1000" b="0" i="0" u="none" strike="noStrike" kern="1200" dirty="0" smtClean="0">
                <a:solidFill>
                  <a:schemeClr val="tx1"/>
                </a:solidFill>
                <a:effectLst/>
                <a:latin typeface="Arial" pitchFamily="34" charset="0"/>
                <a:ea typeface="+mn-ea"/>
                <a:cs typeface="Arial" pitchFamily="34" charset="0"/>
                <a:hlinkClick r:id="rId7"/>
              </a:rPr>
              <a:t>-proxy</a:t>
            </a:r>
            <a:r>
              <a:rPr lang="en-IN" sz="1000" b="0" i="0" u="sng" kern="120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maintains network rules on nodes. These network rules allow network communication to your Pods from network sessions inside or outside of </a:t>
            </a:r>
            <a:r>
              <a:rPr lang="en-IN" sz="1000" b="0" i="0" kern="1200" dirty="0" smtClean="0">
                <a:solidFill>
                  <a:schemeClr val="tx1"/>
                </a:solidFill>
                <a:effectLst/>
                <a:latin typeface="Arial" pitchFamily="34" charset="0"/>
                <a:ea typeface="+mn-ea"/>
                <a:cs typeface="Arial" pitchFamily="34" charset="0"/>
              </a:rPr>
              <a:t>your </a:t>
            </a:r>
            <a:r>
              <a:rPr lang="en-IN" sz="1000" b="0" i="0" kern="1200" dirty="0" smtClean="0">
                <a:solidFill>
                  <a:schemeClr val="tx1"/>
                </a:solidFill>
                <a:effectLst/>
                <a:latin typeface="Arial" pitchFamily="34" charset="0"/>
                <a:ea typeface="+mn-ea"/>
                <a:cs typeface="Arial" pitchFamily="34" charset="0"/>
              </a:rPr>
              <a:t>cluster.</a:t>
            </a:r>
          </a:p>
          <a:p>
            <a:r>
              <a:rPr lang="en-IN" sz="1000" b="0" i="0" kern="1200" dirty="0" smtClean="0">
                <a:solidFill>
                  <a:schemeClr val="tx1"/>
                </a:solidFill>
                <a:effectLst/>
                <a:latin typeface="Arial" pitchFamily="34" charset="0"/>
                <a:ea typeface="+mn-ea"/>
                <a:cs typeface="Arial" pitchFamily="34" charset="0"/>
              </a:rPr>
              <a:t>	</a:t>
            </a:r>
            <a:r>
              <a:rPr lang="en-IN" sz="1000" b="0" i="0" kern="1200" dirty="0" err="1" smtClean="0">
                <a:solidFill>
                  <a:schemeClr val="tx1"/>
                </a:solidFill>
                <a:effectLst/>
                <a:latin typeface="Arial" pitchFamily="34" charset="0"/>
                <a:ea typeface="+mn-ea"/>
                <a:cs typeface="Arial" pitchFamily="34" charset="0"/>
              </a:rPr>
              <a:t>kube</a:t>
            </a:r>
            <a:r>
              <a:rPr lang="en-IN" sz="1000" b="0" i="0" kern="1200" dirty="0" smtClean="0">
                <a:solidFill>
                  <a:schemeClr val="tx1"/>
                </a:solidFill>
                <a:effectLst/>
                <a:latin typeface="Arial" pitchFamily="34" charset="0"/>
                <a:ea typeface="+mn-ea"/>
                <a:cs typeface="Arial" pitchFamily="34" charset="0"/>
              </a:rPr>
              <a:t>-proxy uses the operating system packet filtering layer if there is one and it's available. Otherwise, </a:t>
            </a:r>
            <a:r>
              <a:rPr lang="en-IN" sz="1000" b="0" i="0" kern="1200" dirty="0" err="1" smtClean="0">
                <a:solidFill>
                  <a:schemeClr val="tx1"/>
                </a:solidFill>
                <a:effectLst/>
                <a:latin typeface="Arial" pitchFamily="34" charset="0"/>
                <a:ea typeface="+mn-ea"/>
                <a:cs typeface="Arial" pitchFamily="34" charset="0"/>
              </a:rPr>
              <a:t>kube</a:t>
            </a:r>
            <a:r>
              <a:rPr lang="en-IN" sz="1000" b="0" i="0" kern="1200" dirty="0" smtClean="0">
                <a:solidFill>
                  <a:schemeClr val="tx1"/>
                </a:solidFill>
                <a:effectLst/>
                <a:latin typeface="Arial" pitchFamily="34" charset="0"/>
                <a:ea typeface="+mn-ea"/>
                <a:cs typeface="Arial" pitchFamily="34" charset="0"/>
              </a:rPr>
              <a:t>-proxy forwards the traffic itself.</a:t>
            </a:r>
          </a:p>
          <a:p>
            <a:r>
              <a:rPr lang="en-IN" sz="1000" b="1" i="0" kern="1200" dirty="0" smtClean="0">
                <a:solidFill>
                  <a:schemeClr val="tx1"/>
                </a:solidFill>
                <a:effectLst/>
                <a:latin typeface="Arial" pitchFamily="34" charset="0"/>
                <a:ea typeface="+mn-ea"/>
                <a:cs typeface="Arial" pitchFamily="34" charset="0"/>
              </a:rPr>
              <a:t>3)Container runtime</a:t>
            </a:r>
          </a:p>
          <a:p>
            <a:r>
              <a:rPr lang="en-IN" sz="1000" b="0" i="0" kern="1200" dirty="0" smtClean="0">
                <a:solidFill>
                  <a:schemeClr val="tx1"/>
                </a:solidFill>
                <a:effectLst/>
                <a:latin typeface="Arial" pitchFamily="34" charset="0"/>
                <a:ea typeface="+mn-ea"/>
                <a:cs typeface="Arial" pitchFamily="34" charset="0"/>
              </a:rPr>
              <a:t>	The container runtime is the software that is responsible for running containers.</a:t>
            </a:r>
          </a:p>
          <a:p>
            <a:r>
              <a:rPr lang="en-IN" sz="1000" b="0" i="0" kern="1200" dirty="0" smtClean="0">
                <a:solidFill>
                  <a:schemeClr val="tx1"/>
                </a:solidFill>
                <a:effectLst/>
                <a:latin typeface="Arial" pitchFamily="34" charset="0"/>
                <a:ea typeface="+mn-ea"/>
                <a:cs typeface="Arial" pitchFamily="34" charset="0"/>
              </a:rPr>
              <a:t>	Kubernetes supports several container runtimes: </a:t>
            </a:r>
            <a:r>
              <a:rPr lang="en-IN" sz="1000" b="0" i="0" u="none" strike="noStrike" kern="1200" dirty="0" smtClean="0">
                <a:solidFill>
                  <a:schemeClr val="tx1"/>
                </a:solidFill>
                <a:effectLst/>
                <a:latin typeface="Arial" pitchFamily="34" charset="0"/>
                <a:ea typeface="+mn-ea"/>
                <a:cs typeface="Arial" pitchFamily="34" charset="0"/>
                <a:hlinkClick r:id="rId8"/>
              </a:rPr>
              <a:t>Docker</a:t>
            </a:r>
            <a:r>
              <a:rPr lang="en-IN" sz="1000" b="0" i="0" kern="1200" dirty="0" smtClean="0">
                <a:solidFill>
                  <a:schemeClr val="tx1"/>
                </a:solidFill>
                <a:effectLst/>
                <a:latin typeface="Arial" pitchFamily="34" charset="0"/>
                <a:ea typeface="+mn-ea"/>
                <a:cs typeface="Arial" pitchFamily="34" charset="0"/>
              </a:rPr>
              <a:t>, </a:t>
            </a:r>
            <a:r>
              <a:rPr lang="en-IN" sz="1000" b="0" i="0" u="none" strike="noStrike" kern="1200" dirty="0" err="1" smtClean="0">
                <a:solidFill>
                  <a:schemeClr val="tx1"/>
                </a:solidFill>
                <a:effectLst/>
                <a:latin typeface="Arial" pitchFamily="34" charset="0"/>
                <a:ea typeface="+mn-ea"/>
                <a:cs typeface="Arial" pitchFamily="34" charset="0"/>
                <a:hlinkClick r:id="rId9"/>
              </a:rPr>
              <a:t>containerd</a:t>
            </a:r>
            <a:r>
              <a:rPr lang="en-IN" sz="1000" b="0" i="0" kern="1200" dirty="0" smtClean="0">
                <a:solidFill>
                  <a:schemeClr val="tx1"/>
                </a:solidFill>
                <a:effectLst/>
                <a:latin typeface="Arial" pitchFamily="34" charset="0"/>
                <a:ea typeface="+mn-ea"/>
                <a:cs typeface="Arial" pitchFamily="34" charset="0"/>
              </a:rPr>
              <a:t>, </a:t>
            </a:r>
            <a:r>
              <a:rPr lang="en-IN" sz="1000" b="0" i="0" u="none" strike="noStrike" kern="1200" dirty="0" smtClean="0">
                <a:solidFill>
                  <a:schemeClr val="tx1"/>
                </a:solidFill>
                <a:effectLst/>
                <a:latin typeface="Arial" pitchFamily="34" charset="0"/>
                <a:ea typeface="+mn-ea"/>
                <a:cs typeface="Arial" pitchFamily="34" charset="0"/>
                <a:hlinkClick r:id="rId10"/>
              </a:rPr>
              <a:t>CRI-O</a:t>
            </a:r>
            <a:r>
              <a:rPr lang="en-IN" sz="1000" b="0" i="0" kern="1200" dirty="0" smtClean="0">
                <a:solidFill>
                  <a:schemeClr val="tx1"/>
                </a:solidFill>
                <a:effectLst/>
                <a:latin typeface="Arial" pitchFamily="34" charset="0"/>
                <a:ea typeface="+mn-ea"/>
                <a:cs typeface="Arial" pitchFamily="34" charset="0"/>
              </a:rPr>
              <a:t>, and any implementation of the </a:t>
            </a:r>
            <a:r>
              <a:rPr lang="en-IN" sz="1000" b="0" i="0" u="none" strike="noStrike" kern="1200" dirty="0" smtClean="0">
                <a:solidFill>
                  <a:schemeClr val="tx1"/>
                </a:solidFill>
                <a:effectLst/>
                <a:latin typeface="Arial" pitchFamily="34" charset="0"/>
                <a:ea typeface="+mn-ea"/>
                <a:cs typeface="Arial" pitchFamily="34" charset="0"/>
                <a:hlinkClick r:id="rId11"/>
              </a:rPr>
              <a:t>Kubernetes CRI (Container Runtime Interface)</a:t>
            </a:r>
            <a:r>
              <a:rPr lang="en-IN" sz="1000" b="0" i="0" kern="1200" dirty="0" smtClean="0">
                <a:solidFill>
                  <a:schemeClr val="tx1"/>
                </a:solidFill>
                <a:effectLst/>
                <a:latin typeface="Arial" pitchFamily="34" charset="0"/>
                <a:ea typeface="+mn-ea"/>
                <a:cs typeface="Arial" pitchFamily="34" charset="0"/>
              </a:rPr>
              <a:t>.</a:t>
            </a:r>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2586026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300863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smtClean="0"/>
              <a:t>POD</a:t>
            </a:r>
            <a:r>
              <a:rPr lang="en-IN" baseline="0" dirty="0" smtClean="0"/>
              <a:t> is a group of container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A </a:t>
            </a:r>
            <a:r>
              <a:rPr lang="en-IN" sz="1000" b="1" i="0" kern="1200" dirty="0" smtClean="0">
                <a:solidFill>
                  <a:schemeClr val="tx1"/>
                </a:solidFill>
                <a:effectLst/>
                <a:latin typeface="Arial" pitchFamily="34" charset="0"/>
                <a:ea typeface="+mn-ea"/>
                <a:cs typeface="Arial" pitchFamily="34" charset="0"/>
              </a:rPr>
              <a:t>pod</a:t>
            </a:r>
            <a:r>
              <a:rPr lang="en-IN" sz="1000" b="0" i="0" kern="1200" dirty="0" smtClean="0">
                <a:solidFill>
                  <a:schemeClr val="tx1"/>
                </a:solidFill>
                <a:effectLst/>
                <a:latin typeface="Arial" pitchFamily="34" charset="0"/>
                <a:ea typeface="+mn-ea"/>
                <a:cs typeface="Arial" pitchFamily="34" charset="0"/>
              </a:rPr>
              <a:t> is the smallest element of scheduling in Kubernetes. Without it, a container cannot be part of a clust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f you need to scale your app, you can only do so by adding or removing pod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pod serves as a ‘wrapper’ for a single container with the application code.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Based on the availability of resources, the Master schedules the pod on a specific node and coordinates with the container runtime to launch the contain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n instances where pods unexpectedly fail to perform their tasks, Kubernetes does not attempt to fix them.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nstead, it creates and starts a new pod in its place. This new pod is a replica, except for the DNS and IP addres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is feature has had a profound impact on how developers design application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Due to the flexible nature of Kubernetes architecture, applications no longer need to be tied to a particular instance of a pod.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nstead, applications need to be designed so that an entirely new pod, created anywhere within the cluster, can seamlessly take its place.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o assist with this process, Kubernetes uses </a:t>
            </a:r>
            <a:r>
              <a:rPr lang="en-IN" sz="1000" b="1" i="0" kern="1200" dirty="0" smtClean="0">
                <a:solidFill>
                  <a:schemeClr val="tx1"/>
                </a:solidFill>
                <a:effectLst/>
                <a:latin typeface="Arial" pitchFamily="34" charset="0"/>
                <a:ea typeface="+mn-ea"/>
                <a:cs typeface="Arial" pitchFamily="34" charset="0"/>
              </a:rPr>
              <a:t>services</a:t>
            </a:r>
            <a:r>
              <a:rPr lang="en-IN" sz="1000" b="0" i="0" kern="1200" dirty="0" smtClean="0">
                <a:solidFill>
                  <a:schemeClr val="tx1"/>
                </a:solidFill>
                <a:effectLst/>
                <a:latin typeface="Arial" pitchFamily="34" charset="0"/>
                <a:ea typeface="+mn-ea"/>
                <a:cs typeface="Arial" pitchFamily="34" charset="0"/>
              </a:rPr>
              <a:t>.</a:t>
            </a:r>
          </a:p>
          <a:p>
            <a:pPr marL="171450" indent="-171450">
              <a:buFont typeface="Arial" panose="020B0604020202020204" pitchFamily="34" charset="0"/>
              <a:buChar char="•"/>
            </a:pPr>
            <a:endParaRPr lang="en-IN"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8867571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IN" sz="1000" b="1" i="0" kern="1200" dirty="0" smtClean="0">
                <a:solidFill>
                  <a:schemeClr val="tx1"/>
                </a:solidFill>
                <a:effectLst/>
                <a:latin typeface="Arial" pitchFamily="34" charset="0"/>
                <a:ea typeface="+mn-ea"/>
                <a:cs typeface="Arial" pitchFamily="34" charset="0"/>
              </a:rPr>
              <a:t>How Do Kubernetes Services Work?</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Pods are associated with services through key-value pairs called </a:t>
            </a:r>
            <a:r>
              <a:rPr lang="en-IN" sz="1000" b="1" i="0" kern="1200" dirty="0" smtClean="0">
                <a:solidFill>
                  <a:schemeClr val="tx1"/>
                </a:solidFill>
                <a:effectLst/>
                <a:latin typeface="Arial" pitchFamily="34" charset="0"/>
                <a:ea typeface="+mn-ea"/>
                <a:cs typeface="Arial" pitchFamily="34" charset="0"/>
              </a:rPr>
              <a:t>labels</a:t>
            </a:r>
            <a:r>
              <a:rPr lang="en-IN" sz="1000" b="0" i="0" kern="1200" dirty="0" smtClean="0">
                <a:solidFill>
                  <a:schemeClr val="tx1"/>
                </a:solidFill>
                <a:effectLst/>
                <a:latin typeface="Arial" pitchFamily="34" charset="0"/>
                <a:ea typeface="+mn-ea"/>
                <a:cs typeface="Arial" pitchFamily="34" charset="0"/>
              </a:rPr>
              <a:t> and </a:t>
            </a:r>
            <a:r>
              <a:rPr lang="en-IN" sz="1000" b="1" i="0" kern="1200" dirty="0" smtClean="0">
                <a:solidFill>
                  <a:schemeClr val="tx1"/>
                </a:solidFill>
                <a:effectLst/>
                <a:latin typeface="Arial" pitchFamily="34" charset="0"/>
                <a:ea typeface="+mn-ea"/>
                <a:cs typeface="Arial" pitchFamily="34" charset="0"/>
              </a:rPr>
              <a:t>selectors</a:t>
            </a:r>
            <a:r>
              <a:rPr lang="en-IN" sz="1000" b="0" i="0" kern="1200" dirty="0" smtClean="0">
                <a:solidFill>
                  <a:schemeClr val="tx1"/>
                </a:solidFill>
                <a:effectLst/>
                <a:latin typeface="Arial" pitchFamily="34" charset="0"/>
                <a:ea typeface="+mn-ea"/>
                <a:cs typeface="Arial" pitchFamily="34" charset="0"/>
              </a:rPr>
              <a:t>.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A service automatically discovers a new pod with labels that match the selecto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is process seamlessly adds new pods to the service, and at the same time, removes terminated pods from the clust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For example, if the desired state includes </a:t>
            </a:r>
            <a:r>
              <a:rPr lang="en-IN" sz="1000" b="1" i="0" kern="1200" dirty="0" smtClean="0">
                <a:solidFill>
                  <a:schemeClr val="tx1"/>
                </a:solidFill>
                <a:effectLst/>
                <a:latin typeface="Arial" pitchFamily="34" charset="0"/>
                <a:ea typeface="+mn-ea"/>
                <a:cs typeface="Arial" pitchFamily="34" charset="0"/>
              </a:rPr>
              <a:t>three replicas of a pod</a:t>
            </a:r>
            <a:r>
              <a:rPr lang="en-IN" sz="1000" b="0" i="0" kern="1200" dirty="0" smtClean="0">
                <a:solidFill>
                  <a:schemeClr val="tx1"/>
                </a:solidFill>
                <a:effectLst/>
                <a:latin typeface="Arial" pitchFamily="34" charset="0"/>
                <a:ea typeface="+mn-ea"/>
                <a:cs typeface="Arial" pitchFamily="34" charset="0"/>
              </a:rPr>
              <a:t> and a node running </a:t>
            </a:r>
            <a:r>
              <a:rPr lang="en-IN" sz="1000" b="1" i="0" kern="1200" dirty="0" smtClean="0">
                <a:solidFill>
                  <a:schemeClr val="tx1"/>
                </a:solidFill>
                <a:effectLst/>
                <a:latin typeface="Arial" pitchFamily="34" charset="0"/>
                <a:ea typeface="+mn-ea"/>
                <a:cs typeface="Arial" pitchFamily="34" charset="0"/>
              </a:rPr>
              <a:t>one replica fails</a:t>
            </a:r>
            <a:r>
              <a:rPr lang="en-IN" sz="1000" b="0" i="0" kern="1200" dirty="0" smtClean="0">
                <a:solidFill>
                  <a:schemeClr val="tx1"/>
                </a:solidFill>
                <a:effectLst/>
                <a:latin typeface="Arial" pitchFamily="34" charset="0"/>
                <a:ea typeface="+mn-ea"/>
                <a:cs typeface="Arial" pitchFamily="34" charset="0"/>
              </a:rPr>
              <a:t>, the current state is reduced to two pods. Kubernetes observers that the desired state is three pod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 It then </a:t>
            </a:r>
            <a:r>
              <a:rPr lang="en-IN" sz="1000" b="1" i="0" kern="1200" dirty="0" smtClean="0">
                <a:solidFill>
                  <a:schemeClr val="tx1"/>
                </a:solidFill>
                <a:effectLst/>
                <a:latin typeface="Arial" pitchFamily="34" charset="0"/>
                <a:ea typeface="+mn-ea"/>
                <a:cs typeface="Arial" pitchFamily="34" charset="0"/>
              </a:rPr>
              <a:t>schedules one new replica</a:t>
            </a:r>
            <a:r>
              <a:rPr lang="en-IN" sz="1000" b="0" i="0" kern="1200" dirty="0" smtClean="0">
                <a:solidFill>
                  <a:schemeClr val="tx1"/>
                </a:solidFill>
                <a:effectLst/>
                <a:latin typeface="Arial" pitchFamily="34" charset="0"/>
                <a:ea typeface="+mn-ea"/>
                <a:cs typeface="Arial" pitchFamily="34" charset="0"/>
              </a:rPr>
              <a:t> to take the place of the failed pod and assigns it to another node in the clust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same would apply when updating or scaling the application by adding or removing pod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Once we update the desired state, Kubernetes notices the discrepancy and adds or removes pods to match the manifest file.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Kubernetes control panel records, implements, and runs background reconciliation loops that continuously check to see if the environment matches user-defined requirements.</a:t>
            </a:r>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2747817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IN" sz="1000" b="0" i="0" kern="1200" dirty="0" smtClean="0">
                <a:solidFill>
                  <a:schemeClr val="tx1"/>
                </a:solidFill>
                <a:effectLst/>
                <a:latin typeface="Arial" pitchFamily="34" charset="0"/>
                <a:ea typeface="+mn-ea"/>
                <a:cs typeface="Arial" pitchFamily="34" charset="0"/>
              </a:rPr>
              <a:t>-The </a:t>
            </a:r>
            <a:r>
              <a:rPr lang="en-IN" sz="1000" b="1" i="0" kern="1200" dirty="0" smtClean="0">
                <a:solidFill>
                  <a:schemeClr val="tx1"/>
                </a:solidFill>
                <a:effectLst/>
                <a:latin typeface="Arial" pitchFamily="34" charset="0"/>
                <a:ea typeface="+mn-ea"/>
                <a:cs typeface="Arial" pitchFamily="34" charset="0"/>
              </a:rPr>
              <a:t>API Server</a:t>
            </a:r>
            <a:r>
              <a:rPr lang="en-IN" sz="1000" b="0" i="0" kern="1200" dirty="0" smtClean="0">
                <a:solidFill>
                  <a:schemeClr val="tx1"/>
                </a:solidFill>
                <a:effectLst/>
                <a:latin typeface="Arial" pitchFamily="34" charset="0"/>
                <a:ea typeface="+mn-ea"/>
                <a:cs typeface="Arial" pitchFamily="34" charset="0"/>
              </a:rPr>
              <a:t> is the front-end of the control plane and the only component in the control plane that we interact with directly. Internal system components, as well as external user components, all communicate via the same API.</a:t>
            </a:r>
          </a:p>
          <a:p>
            <a:r>
              <a:rPr lang="en-IN" sz="1000" b="0" i="0" kern="1200" dirty="0" smtClean="0">
                <a:solidFill>
                  <a:schemeClr val="tx1"/>
                </a:solidFill>
                <a:effectLst/>
                <a:latin typeface="Arial" pitchFamily="34" charset="0"/>
                <a:ea typeface="+mn-ea"/>
                <a:cs typeface="Arial" pitchFamily="34" charset="0"/>
              </a:rPr>
              <a:t>-</a:t>
            </a:r>
          </a:p>
          <a:p>
            <a:endParaRPr lang="en-IN" dirty="0"/>
          </a:p>
        </p:txBody>
      </p:sp>
    </p:spTree>
    <p:extLst>
      <p:ext uri="{BB962C8B-B14F-4D97-AF65-F5344CB8AC3E}">
        <p14:creationId xmlns:p14="http://schemas.microsoft.com/office/powerpoint/2010/main" val="2394053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IN" sz="1000" b="1" i="0" kern="1200" dirty="0" smtClean="0">
                <a:solidFill>
                  <a:schemeClr val="tx1"/>
                </a:solidFill>
                <a:effectLst/>
                <a:latin typeface="Arial" pitchFamily="34" charset="0"/>
                <a:ea typeface="+mn-ea"/>
                <a:cs typeface="Arial" pitchFamily="34" charset="0"/>
              </a:rPr>
              <a:t>Scheduler</a:t>
            </a:r>
          </a:p>
        </p:txBody>
      </p:sp>
    </p:spTree>
    <p:extLst>
      <p:ext uri="{BB962C8B-B14F-4D97-AF65-F5344CB8AC3E}">
        <p14:creationId xmlns:p14="http://schemas.microsoft.com/office/powerpoint/2010/main" val="2930505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IN" sz="1000" b="1" i="0" kern="1200" dirty="0" smtClean="0">
                <a:solidFill>
                  <a:schemeClr val="tx1"/>
                </a:solidFill>
                <a:effectLst/>
                <a:latin typeface="Arial" pitchFamily="34" charset="0"/>
                <a:ea typeface="+mn-ea"/>
                <a:cs typeface="Arial" pitchFamily="34" charset="0"/>
              </a:rPr>
              <a:t>The Logic implemented by Controller is as follows</a:t>
            </a:r>
          </a:p>
          <a:p>
            <a:r>
              <a:rPr lang="en-IN" sz="1000" b="1" i="0" kern="120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Obtain Desire State</a:t>
            </a:r>
          </a:p>
          <a:p>
            <a:r>
              <a:rPr lang="en-IN" sz="1000" b="0" i="0" kern="1200" dirty="0" smtClean="0">
                <a:solidFill>
                  <a:schemeClr val="tx1"/>
                </a:solidFill>
                <a:effectLst/>
                <a:latin typeface="Arial" pitchFamily="34" charset="0"/>
                <a:ea typeface="+mn-ea"/>
                <a:cs typeface="Arial" pitchFamily="34" charset="0"/>
              </a:rPr>
              <a:t>	-Observe Current State</a:t>
            </a:r>
          </a:p>
          <a:p>
            <a:r>
              <a:rPr lang="en-IN" sz="1000" b="0" i="0" kern="1200" dirty="0" smtClean="0">
                <a:solidFill>
                  <a:schemeClr val="tx1"/>
                </a:solidFill>
                <a:effectLst/>
                <a:latin typeface="Arial" pitchFamily="34" charset="0"/>
                <a:ea typeface="+mn-ea"/>
                <a:cs typeface="Arial" pitchFamily="34" charset="0"/>
              </a:rPr>
              <a:t>	-Determine difference</a:t>
            </a:r>
          </a:p>
          <a:p>
            <a:r>
              <a:rPr lang="en-IN" sz="1000" b="0" i="0" kern="1200" dirty="0" smtClean="0">
                <a:solidFill>
                  <a:schemeClr val="tx1"/>
                </a:solidFill>
                <a:effectLst/>
                <a:latin typeface="Arial" pitchFamily="34" charset="0"/>
                <a:ea typeface="+mn-ea"/>
                <a:cs typeface="Arial" pitchFamily="34" charset="0"/>
              </a:rPr>
              <a:t>	-Reconcile Differences</a:t>
            </a:r>
          </a:p>
          <a:p>
            <a:r>
              <a:rPr lang="en-IN" sz="1000" b="1" i="0" kern="1200" dirty="0" smtClean="0">
                <a:solidFill>
                  <a:schemeClr val="tx1"/>
                </a:solidFill>
                <a:effectLst/>
                <a:latin typeface="Arial" pitchFamily="34" charset="0"/>
                <a:ea typeface="+mn-ea"/>
                <a:cs typeface="Arial" pitchFamily="34" charset="0"/>
              </a:rPr>
              <a:t>	</a:t>
            </a:r>
          </a:p>
        </p:txBody>
      </p:sp>
    </p:spTree>
    <p:extLst>
      <p:ext uri="{BB962C8B-B14F-4D97-AF65-F5344CB8AC3E}">
        <p14:creationId xmlns:p14="http://schemas.microsoft.com/office/powerpoint/2010/main" val="1751316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IN" sz="1000" b="0" i="0" kern="1200" dirty="0" smtClean="0">
              <a:solidFill>
                <a:schemeClr val="tx1"/>
              </a:solidFill>
              <a:effectLst/>
              <a:latin typeface="Arial" pitchFamily="34" charset="0"/>
              <a:ea typeface="+mn-ea"/>
              <a:cs typeface="Arial" pitchFamily="34" charset="0"/>
            </a:endParaRPr>
          </a:p>
          <a:p>
            <a:endParaRPr lang="en-IN" dirty="0"/>
          </a:p>
        </p:txBody>
      </p:sp>
    </p:spTree>
    <p:extLst>
      <p:ext uri="{BB962C8B-B14F-4D97-AF65-F5344CB8AC3E}">
        <p14:creationId xmlns:p14="http://schemas.microsoft.com/office/powerpoint/2010/main" val="33757580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00586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60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5121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IN" sz="1000" b="0" i="0" kern="1200" dirty="0" smtClean="0">
                <a:solidFill>
                  <a:schemeClr val="tx1"/>
                </a:solidFill>
                <a:effectLst/>
                <a:latin typeface="Arial" pitchFamily="34" charset="0"/>
                <a:ea typeface="+mn-ea"/>
                <a:cs typeface="Arial" pitchFamily="34" charset="0"/>
              </a:rPr>
              <a:t>-When you deploy Kubernetes, you get a cluster.</a:t>
            </a:r>
          </a:p>
          <a:p>
            <a:r>
              <a:rPr lang="en-IN" sz="1000" b="0" i="0" kern="1200" dirty="0" smtClean="0">
                <a:solidFill>
                  <a:schemeClr val="tx1"/>
                </a:solidFill>
                <a:effectLst/>
                <a:latin typeface="Arial" pitchFamily="34" charset="0"/>
                <a:ea typeface="+mn-ea"/>
                <a:cs typeface="Arial" pitchFamily="34" charset="0"/>
              </a:rPr>
              <a:t>-A Kubernetes cluster consists of a set of worker machines, called </a:t>
            </a:r>
            <a:r>
              <a:rPr lang="en-IN" sz="1000" b="0" i="0" u="none" strike="noStrike" kern="1200" dirty="0" smtClean="0">
                <a:solidFill>
                  <a:schemeClr val="tx1"/>
                </a:solidFill>
                <a:effectLst/>
                <a:latin typeface="Arial" pitchFamily="34" charset="0"/>
                <a:ea typeface="+mn-ea"/>
                <a:cs typeface="Arial" pitchFamily="34" charset="0"/>
                <a:hlinkClick r:id="rId3"/>
              </a:rPr>
              <a:t>nodes</a:t>
            </a:r>
            <a:r>
              <a:rPr lang="en-IN" sz="1000" b="0" i="0" kern="1200" dirty="0" smtClean="0">
                <a:solidFill>
                  <a:schemeClr val="tx1"/>
                </a:solidFill>
                <a:effectLst/>
                <a:latin typeface="Arial" pitchFamily="34" charset="0"/>
                <a:ea typeface="+mn-ea"/>
                <a:cs typeface="Arial" pitchFamily="34" charset="0"/>
              </a:rPr>
              <a:t>, that run containerized applications. </a:t>
            </a:r>
          </a:p>
          <a:p>
            <a:r>
              <a:rPr lang="en-IN" sz="1000" b="0" i="0" kern="1200" dirty="0" smtClean="0">
                <a:solidFill>
                  <a:schemeClr val="tx1"/>
                </a:solidFill>
                <a:effectLst/>
                <a:latin typeface="Arial" pitchFamily="34" charset="0"/>
                <a:ea typeface="+mn-ea"/>
                <a:cs typeface="Arial" pitchFamily="34" charset="0"/>
              </a:rPr>
              <a:t>-Every cluster has at least one worker node.</a:t>
            </a:r>
          </a:p>
          <a:p>
            <a:r>
              <a:rPr lang="en-IN" sz="1000" b="0" i="0" kern="1200" dirty="0" smtClean="0">
                <a:solidFill>
                  <a:schemeClr val="tx1"/>
                </a:solidFill>
                <a:effectLst/>
                <a:latin typeface="Arial" pitchFamily="34" charset="0"/>
                <a:ea typeface="+mn-ea"/>
                <a:cs typeface="Arial" pitchFamily="34" charset="0"/>
              </a:rPr>
              <a:t>-The worker node(s) host the </a:t>
            </a:r>
            <a:r>
              <a:rPr lang="en-IN" sz="1000" b="0" i="0" u="none" strike="noStrike" kern="1200" dirty="0" smtClean="0">
                <a:solidFill>
                  <a:schemeClr val="tx1"/>
                </a:solidFill>
                <a:effectLst/>
                <a:latin typeface="Arial" pitchFamily="34" charset="0"/>
                <a:ea typeface="+mn-ea"/>
                <a:cs typeface="Arial" pitchFamily="34" charset="0"/>
                <a:hlinkClick r:id="rId4"/>
              </a:rPr>
              <a:t>Pods</a:t>
            </a:r>
            <a:r>
              <a:rPr lang="en-IN" sz="1000" b="0" i="0" kern="1200" dirty="0" smtClean="0">
                <a:solidFill>
                  <a:schemeClr val="tx1"/>
                </a:solidFill>
                <a:effectLst/>
                <a:latin typeface="Arial" pitchFamily="34" charset="0"/>
                <a:ea typeface="+mn-ea"/>
                <a:cs typeface="Arial" pitchFamily="34" charset="0"/>
              </a:rPr>
              <a:t> that are the components of the application workload. </a:t>
            </a:r>
          </a:p>
          <a:p>
            <a:r>
              <a:rPr lang="en-IN" sz="1000" b="0" i="0" kern="1200" dirty="0" smtClean="0">
                <a:solidFill>
                  <a:schemeClr val="tx1"/>
                </a:solidFill>
                <a:effectLst/>
                <a:latin typeface="Arial" pitchFamily="34" charset="0"/>
                <a:ea typeface="+mn-ea"/>
                <a:cs typeface="Arial" pitchFamily="34" charset="0"/>
              </a:rPr>
              <a:t>-The </a:t>
            </a:r>
            <a:r>
              <a:rPr lang="en-IN" sz="1000" b="0" i="0" u="none" strike="noStrike" kern="1200" dirty="0" smtClean="0">
                <a:solidFill>
                  <a:schemeClr val="tx1"/>
                </a:solidFill>
                <a:effectLst/>
                <a:latin typeface="Arial" pitchFamily="34" charset="0"/>
                <a:ea typeface="+mn-ea"/>
                <a:cs typeface="Arial" pitchFamily="34" charset="0"/>
                <a:hlinkClick r:id="rId5"/>
              </a:rPr>
              <a:t>control plane</a:t>
            </a:r>
            <a:r>
              <a:rPr lang="en-IN" sz="1000" b="0" i="0" kern="1200" dirty="0" smtClean="0">
                <a:solidFill>
                  <a:schemeClr val="tx1"/>
                </a:solidFill>
                <a:effectLst/>
                <a:latin typeface="Arial" pitchFamily="34" charset="0"/>
                <a:ea typeface="+mn-ea"/>
                <a:cs typeface="Arial" pitchFamily="34" charset="0"/>
              </a:rPr>
              <a:t> manages the worker nodes and the Pods in the cluster. </a:t>
            </a:r>
          </a:p>
          <a:p>
            <a:r>
              <a:rPr lang="en-IN" sz="1000" b="0" i="0" kern="1200" dirty="0" smtClean="0">
                <a:solidFill>
                  <a:schemeClr val="tx1"/>
                </a:solidFill>
                <a:effectLst/>
                <a:latin typeface="Arial" pitchFamily="34" charset="0"/>
                <a:ea typeface="+mn-ea"/>
                <a:cs typeface="Arial" pitchFamily="34" charset="0"/>
              </a:rPr>
              <a:t>-In production environments, the control plane usually runs across multiple computers and a cluster usually runs multiple nodes, providing fault-tolerance and high availability.</a:t>
            </a:r>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2962414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62500" lnSpcReduction="20000"/>
          </a:bodyPr>
          <a:lstStyle/>
          <a:p>
            <a:r>
              <a:rPr lang="en-IN" sz="1000" b="1" i="0" kern="1200" dirty="0" smtClean="0">
                <a:solidFill>
                  <a:schemeClr val="tx1"/>
                </a:solidFill>
                <a:effectLst/>
                <a:latin typeface="Arial" pitchFamily="34" charset="0"/>
                <a:ea typeface="+mn-ea"/>
                <a:cs typeface="Arial" pitchFamily="34" charset="0"/>
              </a:rPr>
              <a:t>-[Master]-Control </a:t>
            </a:r>
            <a:r>
              <a:rPr lang="en-IN" sz="1000" b="1" i="0" kern="1200" dirty="0" smtClean="0">
                <a:solidFill>
                  <a:schemeClr val="tx1"/>
                </a:solidFill>
                <a:effectLst/>
                <a:latin typeface="Arial" pitchFamily="34" charset="0"/>
                <a:ea typeface="+mn-ea"/>
                <a:cs typeface="Arial" pitchFamily="34" charset="0"/>
              </a:rPr>
              <a:t>Plane </a:t>
            </a:r>
            <a:r>
              <a:rPr lang="en-IN" sz="1000" b="1" i="0" kern="1200" dirty="0" smtClean="0">
                <a:solidFill>
                  <a:schemeClr val="tx1"/>
                </a:solidFill>
                <a:effectLst/>
                <a:latin typeface="Arial" pitchFamily="34" charset="0"/>
                <a:ea typeface="+mn-ea"/>
                <a:cs typeface="Arial" pitchFamily="34" charset="0"/>
              </a:rPr>
              <a:t>Components</a:t>
            </a:r>
            <a:r>
              <a:rPr lang="en-IN" sz="1000" b="1" i="0" kern="1200" baseline="0" dirty="0" smtClean="0">
                <a:solidFill>
                  <a:schemeClr val="tx1"/>
                </a:solidFill>
                <a:effectLst/>
                <a:latin typeface="Arial" pitchFamily="34" charset="0"/>
                <a:ea typeface="+mn-ea"/>
                <a:cs typeface="Arial" pitchFamily="34" charset="0"/>
              </a:rPr>
              <a:t> - </a:t>
            </a:r>
            <a:r>
              <a:rPr lang="en-IN" sz="1000" b="0" i="0" kern="1200" dirty="0" smtClean="0">
                <a:solidFill>
                  <a:schemeClr val="tx1"/>
                </a:solidFill>
                <a:effectLst/>
                <a:latin typeface="Arial" pitchFamily="34" charset="0"/>
                <a:ea typeface="+mn-ea"/>
                <a:cs typeface="Arial" pitchFamily="34" charset="0"/>
              </a:rPr>
              <a:t>The </a:t>
            </a:r>
            <a:r>
              <a:rPr lang="en-IN" sz="1000" b="0" i="0" kern="1200" dirty="0" smtClean="0">
                <a:solidFill>
                  <a:schemeClr val="tx1"/>
                </a:solidFill>
                <a:effectLst/>
                <a:latin typeface="Arial" pitchFamily="34" charset="0"/>
                <a:ea typeface="+mn-ea"/>
                <a:cs typeface="Arial" pitchFamily="34" charset="0"/>
              </a:rPr>
              <a:t>control plane's components make global decisions about the cluster (for example, scheduling), </a:t>
            </a:r>
          </a:p>
          <a:p>
            <a:r>
              <a:rPr lang="en-IN" sz="1000" b="0" i="0" kern="1200" dirty="0" smtClean="0">
                <a:solidFill>
                  <a:schemeClr val="tx1"/>
                </a:solidFill>
                <a:effectLst/>
                <a:latin typeface="Arial" pitchFamily="34" charset="0"/>
                <a:ea typeface="+mn-ea"/>
                <a:cs typeface="Arial" pitchFamily="34" charset="0"/>
              </a:rPr>
              <a:t>      as well as detecting and responding to cluster events (for example, starting up a new </a:t>
            </a:r>
            <a:r>
              <a:rPr lang="en-IN" sz="1000" b="0" i="0" u="none" strike="noStrike" kern="1200" dirty="0" smtClean="0">
                <a:solidFill>
                  <a:schemeClr val="tx1"/>
                </a:solidFill>
                <a:effectLst/>
                <a:latin typeface="Arial" pitchFamily="34" charset="0"/>
                <a:ea typeface="+mn-ea"/>
                <a:cs typeface="Arial" pitchFamily="34" charset="0"/>
                <a:hlinkClick r:id="rId3"/>
              </a:rPr>
              <a:t>pod</a:t>
            </a:r>
            <a:r>
              <a:rPr lang="en-IN" sz="1000" b="0" i="0" kern="1200" dirty="0" smtClean="0">
                <a:solidFill>
                  <a:schemeClr val="tx1"/>
                </a:solidFill>
                <a:effectLst/>
                <a:latin typeface="Arial" pitchFamily="34" charset="0"/>
                <a:ea typeface="+mn-ea"/>
                <a:cs typeface="Arial" pitchFamily="34" charset="0"/>
              </a:rPr>
              <a:t> when a deployment's replicas field is unsatisfied).</a:t>
            </a:r>
          </a:p>
          <a:p>
            <a:r>
              <a:rPr lang="en-IN" sz="1000" b="0" i="0" kern="1200" dirty="0" smtClean="0">
                <a:solidFill>
                  <a:schemeClr val="tx1"/>
                </a:solidFill>
                <a:effectLst/>
                <a:latin typeface="Arial" pitchFamily="34" charset="0"/>
                <a:ea typeface="+mn-ea"/>
                <a:cs typeface="Arial" pitchFamily="34" charset="0"/>
              </a:rPr>
              <a:t>      Control plane components can be run on any machine in the cluster. However, for simplicity, set up scripts typically start all control plane components on the same machine, and do not run user containers on this machine.</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a:t>
            </a:r>
            <a:r>
              <a:rPr lang="en-IN" sz="1000" b="1" i="0" kern="1200" dirty="0" err="1" smtClean="0">
                <a:solidFill>
                  <a:schemeClr val="tx1"/>
                </a:solidFill>
                <a:effectLst/>
                <a:latin typeface="Arial" pitchFamily="34" charset="0"/>
                <a:ea typeface="+mn-ea"/>
                <a:cs typeface="Arial" pitchFamily="34" charset="0"/>
              </a:rPr>
              <a:t>kube</a:t>
            </a:r>
            <a:r>
              <a:rPr lang="en-IN" sz="1000" b="1" i="0" kern="1200" dirty="0" smtClean="0">
                <a:solidFill>
                  <a:schemeClr val="tx1"/>
                </a:solidFill>
                <a:effectLst/>
                <a:latin typeface="Arial" pitchFamily="34" charset="0"/>
                <a:ea typeface="+mn-ea"/>
                <a:cs typeface="Arial" pitchFamily="34" charset="0"/>
              </a:rPr>
              <a:t>-</a:t>
            </a:r>
            <a:r>
              <a:rPr lang="en-IN" sz="1000" b="1" i="0" kern="1200" dirty="0" err="1" smtClean="0">
                <a:solidFill>
                  <a:schemeClr val="tx1"/>
                </a:solidFill>
                <a:effectLst/>
                <a:latin typeface="Arial" pitchFamily="34" charset="0"/>
                <a:ea typeface="+mn-ea"/>
                <a:cs typeface="Arial" pitchFamily="34" charset="0"/>
              </a:rPr>
              <a:t>apiserver</a:t>
            </a:r>
            <a:r>
              <a:rPr lang="en-IN" sz="1000" b="0" i="0" kern="1200" dirty="0" smtClean="0">
                <a:solidFill>
                  <a:schemeClr val="tx1"/>
                </a:solidFill>
                <a:effectLst/>
                <a:latin typeface="Arial" pitchFamily="34" charset="0"/>
                <a:ea typeface="+mn-ea"/>
                <a:cs typeface="Arial" pitchFamily="34" charset="0"/>
              </a:rPr>
              <a:t>-The API server is a component of the Kubernetes </a:t>
            </a:r>
            <a:r>
              <a:rPr lang="en-IN" sz="1000" b="0" i="0" u="none" strike="noStrike" kern="1200" dirty="0" smtClean="0">
                <a:solidFill>
                  <a:schemeClr val="tx1"/>
                </a:solidFill>
                <a:effectLst/>
                <a:latin typeface="Arial" pitchFamily="34" charset="0"/>
                <a:ea typeface="+mn-ea"/>
                <a:cs typeface="Arial" pitchFamily="34" charset="0"/>
                <a:hlinkClick r:id="rId4"/>
              </a:rPr>
              <a:t>control plane</a:t>
            </a:r>
            <a:r>
              <a:rPr lang="en-IN" sz="1000" b="0" i="0" kern="1200" dirty="0" smtClean="0">
                <a:solidFill>
                  <a:schemeClr val="tx1"/>
                </a:solidFill>
                <a:effectLst/>
                <a:latin typeface="Arial" pitchFamily="34" charset="0"/>
                <a:ea typeface="+mn-ea"/>
                <a:cs typeface="Arial" pitchFamily="34" charset="0"/>
              </a:rPr>
              <a:t> that exposes the Kubernetes API. The API server is the front end for the Kubernetes control </a:t>
            </a:r>
            <a:r>
              <a:rPr lang="en-IN" sz="1000" b="0" i="0" kern="1200" dirty="0" err="1" smtClean="0">
                <a:solidFill>
                  <a:schemeClr val="tx1"/>
                </a:solidFill>
                <a:effectLst/>
                <a:latin typeface="Arial" pitchFamily="34" charset="0"/>
                <a:ea typeface="+mn-ea"/>
                <a:cs typeface="Arial" pitchFamily="34" charset="0"/>
              </a:rPr>
              <a:t>plane.The</a:t>
            </a:r>
            <a:r>
              <a:rPr lang="en-IN" sz="1000" b="0" i="0" kern="1200" dirty="0" smtClean="0">
                <a:solidFill>
                  <a:schemeClr val="tx1"/>
                </a:solidFill>
                <a:effectLst/>
                <a:latin typeface="Arial" pitchFamily="34" charset="0"/>
                <a:ea typeface="+mn-ea"/>
                <a:cs typeface="Arial" pitchFamily="34" charset="0"/>
              </a:rPr>
              <a:t> main implementation of a Kubernetes API server is </a:t>
            </a:r>
            <a:r>
              <a:rPr lang="en-IN" sz="1000" b="0" i="0" u="none" strike="noStrike" kern="1200" dirty="0" err="1" smtClean="0">
                <a:solidFill>
                  <a:schemeClr val="tx1"/>
                </a:solidFill>
                <a:effectLst/>
                <a:latin typeface="Arial" pitchFamily="34" charset="0"/>
                <a:ea typeface="+mn-ea"/>
                <a:cs typeface="Arial" pitchFamily="34" charset="0"/>
                <a:hlinkClick r:id="rId5"/>
              </a:rPr>
              <a:t>kube-apiserver</a:t>
            </a:r>
            <a:r>
              <a:rPr lang="en-IN" sz="1000" b="0" i="0" kern="120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 </a:t>
            </a:r>
            <a:r>
              <a:rPr lang="en-IN" sz="1000" b="0" i="0" kern="1200" dirty="0" err="1" smtClean="0">
                <a:solidFill>
                  <a:schemeClr val="tx1"/>
                </a:solidFill>
                <a:effectLst/>
                <a:latin typeface="Arial" pitchFamily="34" charset="0"/>
                <a:ea typeface="+mn-ea"/>
                <a:cs typeface="Arial" pitchFamily="34" charset="0"/>
              </a:rPr>
              <a:t>kube-apiserver</a:t>
            </a:r>
            <a:r>
              <a:rPr lang="en-IN" sz="1000" b="0" i="0" kern="120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is designed to scale horizontally—that is, it scales by deploying more instances. You can run several instances of </a:t>
            </a:r>
            <a:r>
              <a:rPr lang="en-IN" sz="1000" b="0" i="0" kern="1200" dirty="0" err="1" smtClean="0">
                <a:solidFill>
                  <a:schemeClr val="tx1"/>
                </a:solidFill>
                <a:effectLst/>
                <a:latin typeface="Arial" pitchFamily="34" charset="0"/>
                <a:ea typeface="+mn-ea"/>
                <a:cs typeface="Arial" pitchFamily="34" charset="0"/>
              </a:rPr>
              <a:t>kube-apiserver</a:t>
            </a:r>
            <a:r>
              <a:rPr lang="en-IN" sz="1000" b="0" i="0" kern="1200" dirty="0" smtClean="0">
                <a:solidFill>
                  <a:schemeClr val="tx1"/>
                </a:solidFill>
                <a:effectLst/>
                <a:latin typeface="Arial" pitchFamily="34" charset="0"/>
                <a:ea typeface="+mn-ea"/>
                <a:cs typeface="Arial" pitchFamily="34" charset="0"/>
              </a:rPr>
              <a:t> and balance traffic between those instances.</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a:t>
            </a:r>
            <a:r>
              <a:rPr lang="en-IN" sz="1000" b="1" i="0" kern="1200" dirty="0" err="1" smtClean="0">
                <a:solidFill>
                  <a:schemeClr val="tx1"/>
                </a:solidFill>
                <a:effectLst/>
                <a:latin typeface="Arial" pitchFamily="34" charset="0"/>
                <a:ea typeface="+mn-ea"/>
                <a:cs typeface="Arial" pitchFamily="34" charset="0"/>
              </a:rPr>
              <a:t>etcd</a:t>
            </a:r>
            <a:r>
              <a:rPr lang="en-IN" sz="1000" b="1" i="0" kern="1200" dirty="0" smtClean="0">
                <a:solidFill>
                  <a:schemeClr val="tx1"/>
                </a:solidFill>
                <a:effectLst/>
                <a:latin typeface="Arial" pitchFamily="34" charset="0"/>
                <a:ea typeface="+mn-ea"/>
                <a:cs typeface="Arial" pitchFamily="34" charset="0"/>
              </a:rPr>
              <a:t>-Consistent</a:t>
            </a:r>
            <a:r>
              <a:rPr lang="en-IN" sz="1000" b="0" i="0" kern="1200" dirty="0" smtClean="0">
                <a:solidFill>
                  <a:schemeClr val="tx1"/>
                </a:solidFill>
                <a:effectLst/>
                <a:latin typeface="Arial" pitchFamily="34" charset="0"/>
                <a:ea typeface="+mn-ea"/>
                <a:cs typeface="Arial" pitchFamily="34" charset="0"/>
              </a:rPr>
              <a:t> and highly-available key value store used as Kubernetes' backing store for all cluster data.</a:t>
            </a:r>
          </a:p>
          <a:p>
            <a:r>
              <a:rPr lang="en-IN" sz="1000" b="0" i="0" kern="1200" dirty="0" smtClean="0">
                <a:solidFill>
                  <a:schemeClr val="tx1"/>
                </a:solidFill>
                <a:effectLst/>
                <a:latin typeface="Arial" pitchFamily="34" charset="0"/>
                <a:ea typeface="+mn-ea"/>
                <a:cs typeface="Arial" pitchFamily="34" charset="0"/>
              </a:rPr>
              <a:t>If your Kubernetes cluster uses </a:t>
            </a:r>
            <a:r>
              <a:rPr lang="en-IN" sz="1000" b="0" i="0" kern="1200" dirty="0" err="1" smtClean="0">
                <a:solidFill>
                  <a:schemeClr val="tx1"/>
                </a:solidFill>
                <a:effectLst/>
                <a:latin typeface="Arial" pitchFamily="34" charset="0"/>
                <a:ea typeface="+mn-ea"/>
                <a:cs typeface="Arial" pitchFamily="34" charset="0"/>
              </a:rPr>
              <a:t>etcd</a:t>
            </a:r>
            <a:r>
              <a:rPr lang="en-IN" sz="1000" b="0" i="0" kern="1200" dirty="0" smtClean="0">
                <a:solidFill>
                  <a:schemeClr val="tx1"/>
                </a:solidFill>
                <a:effectLst/>
                <a:latin typeface="Arial" pitchFamily="34" charset="0"/>
                <a:ea typeface="+mn-ea"/>
                <a:cs typeface="Arial" pitchFamily="34" charset="0"/>
              </a:rPr>
              <a:t> as its backing store, make sure you have a </a:t>
            </a:r>
            <a:r>
              <a:rPr lang="en-IN" sz="1000" b="0" i="0" u="none" strike="noStrike" kern="1200" dirty="0" smtClean="0">
                <a:solidFill>
                  <a:schemeClr val="tx1"/>
                </a:solidFill>
                <a:effectLst/>
                <a:latin typeface="Arial" pitchFamily="34" charset="0"/>
                <a:ea typeface="+mn-ea"/>
                <a:cs typeface="Arial" pitchFamily="34" charset="0"/>
                <a:hlinkClick r:id="rId6"/>
              </a:rPr>
              <a:t>back up</a:t>
            </a:r>
            <a:r>
              <a:rPr lang="en-IN" sz="1000" b="0" i="0" kern="1200" dirty="0" smtClean="0">
                <a:solidFill>
                  <a:schemeClr val="tx1"/>
                </a:solidFill>
                <a:effectLst/>
                <a:latin typeface="Arial" pitchFamily="34" charset="0"/>
                <a:ea typeface="+mn-ea"/>
                <a:cs typeface="Arial" pitchFamily="34" charset="0"/>
              </a:rPr>
              <a:t> plan for those data.</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a:t>
            </a:r>
            <a:r>
              <a:rPr lang="en-IN" sz="1000" b="1" i="0" kern="1200" dirty="0" err="1" smtClean="0">
                <a:solidFill>
                  <a:schemeClr val="tx1"/>
                </a:solidFill>
                <a:effectLst/>
                <a:latin typeface="Arial" pitchFamily="34" charset="0"/>
                <a:ea typeface="+mn-ea"/>
                <a:cs typeface="Arial" pitchFamily="34" charset="0"/>
              </a:rPr>
              <a:t>kube</a:t>
            </a:r>
            <a:r>
              <a:rPr lang="en-IN" sz="1000" b="1" i="0" kern="1200" dirty="0" smtClean="0">
                <a:solidFill>
                  <a:schemeClr val="tx1"/>
                </a:solidFill>
                <a:effectLst/>
                <a:latin typeface="Arial" pitchFamily="34" charset="0"/>
                <a:ea typeface="+mn-ea"/>
                <a:cs typeface="Arial" pitchFamily="34" charset="0"/>
              </a:rPr>
              <a:t>-scheduler</a:t>
            </a:r>
          </a:p>
          <a:p>
            <a:r>
              <a:rPr lang="en-IN" sz="1000" b="0" i="0" kern="1200" dirty="0" smtClean="0">
                <a:solidFill>
                  <a:schemeClr val="tx1"/>
                </a:solidFill>
                <a:effectLst/>
                <a:latin typeface="Arial" pitchFamily="34" charset="0"/>
                <a:ea typeface="+mn-ea"/>
                <a:cs typeface="Arial" pitchFamily="34" charset="0"/>
              </a:rPr>
              <a:t>	Control plane component that watches for newly created </a:t>
            </a:r>
            <a:r>
              <a:rPr lang="en-IN" sz="1000" b="0" i="0" u="none" strike="noStrike" kern="1200" dirty="0" smtClean="0">
                <a:solidFill>
                  <a:schemeClr val="tx1"/>
                </a:solidFill>
                <a:effectLst/>
                <a:latin typeface="Arial" pitchFamily="34" charset="0"/>
                <a:ea typeface="+mn-ea"/>
                <a:cs typeface="Arial" pitchFamily="34" charset="0"/>
                <a:hlinkClick r:id="rId3"/>
              </a:rPr>
              <a:t>Pods</a:t>
            </a:r>
            <a:r>
              <a:rPr lang="en-IN" sz="1000" b="0" i="0" kern="1200" dirty="0" smtClean="0">
                <a:solidFill>
                  <a:schemeClr val="tx1"/>
                </a:solidFill>
                <a:effectLst/>
                <a:latin typeface="Arial" pitchFamily="34" charset="0"/>
                <a:ea typeface="+mn-ea"/>
                <a:cs typeface="Arial" pitchFamily="34" charset="0"/>
              </a:rPr>
              <a:t> with no assigned </a:t>
            </a:r>
            <a:r>
              <a:rPr lang="en-IN" sz="1000" b="0" i="0" u="none" strike="noStrike" kern="1200" dirty="0" smtClean="0">
                <a:solidFill>
                  <a:schemeClr val="tx1"/>
                </a:solidFill>
                <a:effectLst/>
                <a:latin typeface="Arial" pitchFamily="34" charset="0"/>
                <a:ea typeface="+mn-ea"/>
                <a:cs typeface="Arial" pitchFamily="34" charset="0"/>
                <a:hlinkClick r:id="rId7"/>
              </a:rPr>
              <a:t>node</a:t>
            </a:r>
            <a:r>
              <a:rPr lang="en-IN" sz="1000" b="0" i="0" kern="1200" dirty="0" smtClean="0">
                <a:solidFill>
                  <a:schemeClr val="tx1"/>
                </a:solidFill>
                <a:effectLst/>
                <a:latin typeface="Arial" pitchFamily="34" charset="0"/>
                <a:ea typeface="+mn-ea"/>
                <a:cs typeface="Arial" pitchFamily="34" charset="0"/>
              </a:rPr>
              <a:t>, and selects a node for them to run on.</a:t>
            </a:r>
          </a:p>
          <a:p>
            <a:r>
              <a:rPr lang="en-IN" sz="1000" b="0" i="0" kern="1200" dirty="0" smtClean="0">
                <a:solidFill>
                  <a:schemeClr val="tx1"/>
                </a:solidFill>
                <a:effectLst/>
                <a:latin typeface="Arial" pitchFamily="34" charset="0"/>
                <a:ea typeface="+mn-ea"/>
                <a:cs typeface="Arial" pitchFamily="34" charset="0"/>
              </a:rPr>
              <a:t>	Factors taken into account for scheduling decisions include: individual and collective resource requirements, hardware/software/policy constraints, affinity 	and anti-affinity specifications, data locality, inter-workload interference, and deadlines.</a:t>
            </a:r>
          </a:p>
          <a:p>
            <a:endParaRPr lang="en-IN" sz="1000" b="0" i="0" kern="1200" dirty="0" smtClean="0">
              <a:solidFill>
                <a:schemeClr val="tx1"/>
              </a:solidFill>
              <a:effectLst/>
              <a:latin typeface="Arial" pitchFamily="34" charset="0"/>
              <a:ea typeface="+mn-ea"/>
              <a:cs typeface="Arial" pitchFamily="34" charset="0"/>
            </a:endParaRPr>
          </a:p>
          <a:p>
            <a:r>
              <a:rPr lang="en-IN" sz="1000" b="1" i="0" kern="1200" dirty="0" smtClean="0">
                <a:solidFill>
                  <a:schemeClr val="tx1"/>
                </a:solidFill>
                <a:effectLst/>
                <a:latin typeface="Arial" pitchFamily="34" charset="0"/>
                <a:ea typeface="+mn-ea"/>
                <a:cs typeface="Arial" pitchFamily="34" charset="0"/>
              </a:rPr>
              <a:t>-</a:t>
            </a:r>
            <a:r>
              <a:rPr lang="en-IN" sz="1000" b="1" i="0" kern="1200" dirty="0" err="1" smtClean="0">
                <a:solidFill>
                  <a:schemeClr val="tx1"/>
                </a:solidFill>
                <a:effectLst/>
                <a:latin typeface="Arial" pitchFamily="34" charset="0"/>
                <a:ea typeface="+mn-ea"/>
                <a:cs typeface="Arial" pitchFamily="34" charset="0"/>
              </a:rPr>
              <a:t>kube</a:t>
            </a:r>
            <a:r>
              <a:rPr lang="en-IN" sz="1000" b="1" i="0" kern="1200" dirty="0" smtClean="0">
                <a:solidFill>
                  <a:schemeClr val="tx1"/>
                </a:solidFill>
                <a:effectLst/>
                <a:latin typeface="Arial" pitchFamily="34" charset="0"/>
                <a:ea typeface="+mn-ea"/>
                <a:cs typeface="Arial" pitchFamily="34" charset="0"/>
              </a:rPr>
              <a:t>-controller-manager- </a:t>
            </a:r>
            <a:r>
              <a:rPr lang="en-IN" sz="1000" b="0" i="0" kern="1200" dirty="0" smtClean="0">
                <a:solidFill>
                  <a:schemeClr val="tx1"/>
                </a:solidFill>
                <a:effectLst/>
                <a:latin typeface="Arial" pitchFamily="34" charset="0"/>
                <a:ea typeface="+mn-ea"/>
                <a:cs typeface="Arial" pitchFamily="34" charset="0"/>
              </a:rPr>
              <a:t>Control Plane component that runs </a:t>
            </a:r>
            <a:r>
              <a:rPr lang="en-IN" sz="1000" b="0" i="0" u="none" strike="noStrike" kern="1200" dirty="0" smtClean="0">
                <a:solidFill>
                  <a:schemeClr val="tx1"/>
                </a:solidFill>
                <a:effectLst/>
                <a:latin typeface="Arial" pitchFamily="34" charset="0"/>
                <a:ea typeface="+mn-ea"/>
                <a:cs typeface="Arial" pitchFamily="34" charset="0"/>
                <a:hlinkClick r:id="rId8"/>
              </a:rPr>
              <a:t>controller</a:t>
            </a:r>
            <a:r>
              <a:rPr lang="en-IN" sz="1000" b="0" i="0" kern="1200" dirty="0" smtClean="0">
                <a:solidFill>
                  <a:schemeClr val="tx1"/>
                </a:solidFill>
                <a:effectLst/>
                <a:latin typeface="Arial" pitchFamily="34" charset="0"/>
                <a:ea typeface="+mn-ea"/>
                <a:cs typeface="Arial" pitchFamily="34" charset="0"/>
              </a:rPr>
              <a:t> processes.</a:t>
            </a:r>
          </a:p>
          <a:p>
            <a:r>
              <a:rPr lang="en-IN" sz="1000" b="0" i="0" kern="1200" dirty="0" smtClean="0">
                <a:solidFill>
                  <a:schemeClr val="tx1"/>
                </a:solidFill>
                <a:effectLst/>
                <a:latin typeface="Arial" pitchFamily="34" charset="0"/>
                <a:ea typeface="+mn-ea"/>
                <a:cs typeface="Arial" pitchFamily="34" charset="0"/>
              </a:rPr>
              <a:t>	Logically, each </a:t>
            </a:r>
            <a:r>
              <a:rPr lang="en-IN" sz="1000" b="0" i="0" u="none" strike="noStrike" kern="1200" dirty="0" smtClean="0">
                <a:solidFill>
                  <a:schemeClr val="tx1"/>
                </a:solidFill>
                <a:effectLst/>
                <a:latin typeface="Arial" pitchFamily="34" charset="0"/>
                <a:ea typeface="+mn-ea"/>
                <a:cs typeface="Arial" pitchFamily="34" charset="0"/>
                <a:hlinkClick r:id="rId8"/>
              </a:rPr>
              <a:t>controller</a:t>
            </a:r>
            <a:r>
              <a:rPr lang="en-IN" sz="1000" b="0" i="0" kern="1200" dirty="0" smtClean="0">
                <a:solidFill>
                  <a:schemeClr val="tx1"/>
                </a:solidFill>
                <a:effectLst/>
                <a:latin typeface="Arial" pitchFamily="34" charset="0"/>
                <a:ea typeface="+mn-ea"/>
                <a:cs typeface="Arial" pitchFamily="34" charset="0"/>
              </a:rPr>
              <a:t> is a separate process, but to reduce complexity, they are all compiled into a single binary and run in a single process.</a:t>
            </a:r>
          </a:p>
          <a:p>
            <a:r>
              <a:rPr lang="en-IN" sz="1000" b="0" i="0" kern="1200" dirty="0" smtClean="0">
                <a:solidFill>
                  <a:schemeClr val="tx1"/>
                </a:solidFill>
                <a:effectLst/>
                <a:latin typeface="Arial" pitchFamily="34" charset="0"/>
                <a:ea typeface="+mn-ea"/>
                <a:cs typeface="Arial" pitchFamily="34" charset="0"/>
              </a:rPr>
              <a:t>	These controllers include:</a:t>
            </a:r>
          </a:p>
          <a:p>
            <a:r>
              <a:rPr lang="en-IN" sz="1000" b="0" i="0" kern="1200" dirty="0" smtClean="0">
                <a:solidFill>
                  <a:schemeClr val="tx1"/>
                </a:solidFill>
                <a:effectLst/>
                <a:latin typeface="Arial" pitchFamily="34" charset="0"/>
                <a:ea typeface="+mn-ea"/>
                <a:cs typeface="Arial" pitchFamily="34" charset="0"/>
              </a:rPr>
              <a:t>		Node controller: Responsible for noticing and responding when nodes go down.</a:t>
            </a:r>
          </a:p>
          <a:p>
            <a:r>
              <a:rPr lang="en-IN" sz="1000" b="0" i="0" kern="1200" dirty="0" smtClean="0">
                <a:solidFill>
                  <a:schemeClr val="tx1"/>
                </a:solidFill>
                <a:effectLst/>
                <a:latin typeface="Arial" pitchFamily="34" charset="0"/>
                <a:ea typeface="+mn-ea"/>
                <a:cs typeface="Arial" pitchFamily="34" charset="0"/>
              </a:rPr>
              <a:t>		Replication controller: Responsible for maintaining the correct number of pods for every replication controller object in the system.</a:t>
            </a:r>
          </a:p>
          <a:p>
            <a:r>
              <a:rPr lang="en-IN" sz="1000" b="0" i="0" kern="1200" dirty="0" smtClean="0">
                <a:solidFill>
                  <a:schemeClr val="tx1"/>
                </a:solidFill>
                <a:effectLst/>
                <a:latin typeface="Arial" pitchFamily="34" charset="0"/>
                <a:ea typeface="+mn-ea"/>
                <a:cs typeface="Arial" pitchFamily="34" charset="0"/>
              </a:rPr>
              <a:t>		Endpoints controller: Populates the Endpoints object (that is, joins Services &amp; Pods).</a:t>
            </a:r>
          </a:p>
          <a:p>
            <a:r>
              <a:rPr lang="en-IN" sz="1000" b="0" i="0" kern="1200" dirty="0" smtClean="0">
                <a:solidFill>
                  <a:schemeClr val="tx1"/>
                </a:solidFill>
                <a:effectLst/>
                <a:latin typeface="Arial" pitchFamily="34" charset="0"/>
                <a:ea typeface="+mn-ea"/>
                <a:cs typeface="Arial" pitchFamily="34" charset="0"/>
              </a:rPr>
              <a:t>		Service Account &amp; Token controllers: Create default accounts and API access tokens for new namespaces.</a:t>
            </a:r>
          </a:p>
          <a:p>
            <a:endParaRPr lang="en-IN" sz="1000" b="0" i="0" kern="1200" dirty="0" smtClean="0">
              <a:solidFill>
                <a:schemeClr val="tx1"/>
              </a:solidFill>
              <a:effectLst/>
              <a:latin typeface="Arial" pitchFamily="34" charset="0"/>
              <a:ea typeface="+mn-ea"/>
              <a:cs typeface="Arial" pitchFamily="34" charset="0"/>
            </a:endParaRPr>
          </a:p>
          <a:p>
            <a:r>
              <a:rPr lang="en-IN" sz="1000" b="1" i="0" kern="1200" dirty="0" smtClean="0">
                <a:solidFill>
                  <a:schemeClr val="tx1"/>
                </a:solidFill>
                <a:effectLst/>
                <a:latin typeface="Arial" pitchFamily="34" charset="0"/>
                <a:ea typeface="+mn-ea"/>
                <a:cs typeface="Arial" pitchFamily="34" charset="0"/>
              </a:rPr>
              <a:t>-cloud-controller-manager-A </a:t>
            </a:r>
            <a:r>
              <a:rPr lang="en-IN" sz="1000" b="0" i="0" kern="1200" dirty="0" smtClean="0">
                <a:solidFill>
                  <a:schemeClr val="tx1"/>
                </a:solidFill>
                <a:effectLst/>
                <a:latin typeface="Arial" pitchFamily="34" charset="0"/>
                <a:ea typeface="+mn-ea"/>
                <a:cs typeface="Arial" pitchFamily="34" charset="0"/>
              </a:rPr>
              <a:t>Kubernetes </a:t>
            </a:r>
            <a:r>
              <a:rPr lang="en-IN" sz="1000" b="0" i="0" u="none" strike="noStrike" kern="1200" dirty="0" smtClean="0">
                <a:solidFill>
                  <a:schemeClr val="tx1"/>
                </a:solidFill>
                <a:effectLst/>
                <a:latin typeface="Arial" pitchFamily="34" charset="0"/>
                <a:ea typeface="+mn-ea"/>
                <a:cs typeface="Arial" pitchFamily="34" charset="0"/>
                <a:hlinkClick r:id="rId4"/>
              </a:rPr>
              <a:t>control plane</a:t>
            </a:r>
            <a:r>
              <a:rPr lang="en-IN" sz="1000" b="0" i="0" kern="1200" dirty="0" smtClean="0">
                <a:solidFill>
                  <a:schemeClr val="tx1"/>
                </a:solidFill>
                <a:effectLst/>
                <a:latin typeface="Arial" pitchFamily="34" charset="0"/>
                <a:ea typeface="+mn-ea"/>
                <a:cs typeface="Arial" pitchFamily="34" charset="0"/>
              </a:rPr>
              <a:t> component that embeds cloud-specific control logic. </a:t>
            </a:r>
          </a:p>
          <a:p>
            <a:r>
              <a:rPr lang="en-IN" sz="1000" b="0" i="0" kern="1200" dirty="0" smtClean="0">
                <a:solidFill>
                  <a:schemeClr val="tx1"/>
                </a:solidFill>
                <a:effectLst/>
                <a:latin typeface="Arial" pitchFamily="34" charset="0"/>
                <a:ea typeface="+mn-ea"/>
                <a:cs typeface="Arial" pitchFamily="34" charset="0"/>
              </a:rPr>
              <a:t>	The cloud controller manager lets you link your cluster into </a:t>
            </a:r>
          </a:p>
          <a:p>
            <a:r>
              <a:rPr lang="en-IN" sz="1000" b="0" i="0" kern="1200" dirty="0" smtClean="0">
                <a:solidFill>
                  <a:schemeClr val="tx1"/>
                </a:solidFill>
                <a:effectLst/>
                <a:latin typeface="Arial" pitchFamily="34" charset="0"/>
                <a:ea typeface="+mn-ea"/>
                <a:cs typeface="Arial" pitchFamily="34" charset="0"/>
              </a:rPr>
              <a:t>	your cloud provider's API, and separates out the components that interact with that cloud platform from components that</a:t>
            </a:r>
          </a:p>
          <a:p>
            <a:r>
              <a:rPr lang="en-IN" sz="1000" b="0" i="0" kern="1200" dirty="0" smtClean="0">
                <a:solidFill>
                  <a:schemeClr val="tx1"/>
                </a:solidFill>
                <a:effectLst/>
                <a:latin typeface="Arial" pitchFamily="34" charset="0"/>
                <a:ea typeface="+mn-ea"/>
                <a:cs typeface="Arial" pitchFamily="34" charset="0"/>
              </a:rPr>
              <a:t>	 just interact with your cluster. The cloud-controller-manager only runs controllers that are specific to your cloud provider. </a:t>
            </a:r>
          </a:p>
          <a:p>
            <a:r>
              <a:rPr lang="en-IN" sz="1000" b="0" i="0" kern="1200" dirty="0" smtClean="0">
                <a:solidFill>
                  <a:schemeClr val="tx1"/>
                </a:solidFill>
                <a:effectLst/>
                <a:latin typeface="Arial" pitchFamily="34" charset="0"/>
                <a:ea typeface="+mn-ea"/>
                <a:cs typeface="Arial" pitchFamily="34" charset="0"/>
              </a:rPr>
              <a:t>	If you are running Kubernetes on your own premises, or in a learning environment inside your own PC, the cluster does not have a cloud controller 	manager.</a:t>
            </a:r>
          </a:p>
          <a:p>
            <a:r>
              <a:rPr lang="en-IN" sz="1000" b="0" i="0" kern="1200" dirty="0" smtClean="0">
                <a:solidFill>
                  <a:schemeClr val="tx1"/>
                </a:solidFill>
                <a:effectLst/>
                <a:latin typeface="Arial" pitchFamily="34" charset="0"/>
                <a:ea typeface="+mn-ea"/>
                <a:cs typeface="Arial" pitchFamily="34" charset="0"/>
              </a:rPr>
              <a:t>	As with the </a:t>
            </a:r>
            <a:r>
              <a:rPr lang="en-IN" sz="1000" b="0" i="0" kern="1200" dirty="0" err="1" smtClean="0">
                <a:solidFill>
                  <a:schemeClr val="tx1"/>
                </a:solidFill>
                <a:effectLst/>
                <a:latin typeface="Arial" pitchFamily="34" charset="0"/>
                <a:ea typeface="+mn-ea"/>
                <a:cs typeface="Arial" pitchFamily="34" charset="0"/>
              </a:rPr>
              <a:t>kube</a:t>
            </a:r>
            <a:r>
              <a:rPr lang="en-IN" sz="1000" b="0" i="0" kern="1200" dirty="0" smtClean="0">
                <a:solidFill>
                  <a:schemeClr val="tx1"/>
                </a:solidFill>
                <a:effectLst/>
                <a:latin typeface="Arial" pitchFamily="34" charset="0"/>
                <a:ea typeface="+mn-ea"/>
                <a:cs typeface="Arial" pitchFamily="34" charset="0"/>
              </a:rPr>
              <a:t>-controller-manager, the cloud-controller-manager combines several logically independent control loops into a single binary that you run 	as a single process. You can scale horizontally (run more than one copy) to improve performance or to help tolerate failures.</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	The following controllers can have cloud provider dependencies:</a:t>
            </a:r>
          </a:p>
          <a:p>
            <a:r>
              <a:rPr lang="en-IN" sz="1000" b="0" i="0" kern="1200" dirty="0" smtClean="0">
                <a:solidFill>
                  <a:schemeClr val="tx1"/>
                </a:solidFill>
                <a:effectLst/>
                <a:latin typeface="Arial" pitchFamily="34" charset="0"/>
                <a:ea typeface="+mn-ea"/>
                <a:cs typeface="Arial" pitchFamily="34" charset="0"/>
              </a:rPr>
              <a:t>	Node controller: For checking the cloud provider to determine if a node has been deleted in the cloud after it stops responding</a:t>
            </a:r>
          </a:p>
          <a:p>
            <a:r>
              <a:rPr lang="en-IN" sz="1000" b="0" i="0" kern="1200" dirty="0" smtClean="0">
                <a:solidFill>
                  <a:schemeClr val="tx1"/>
                </a:solidFill>
                <a:effectLst/>
                <a:latin typeface="Arial" pitchFamily="34" charset="0"/>
                <a:ea typeface="+mn-ea"/>
                <a:cs typeface="Arial" pitchFamily="34" charset="0"/>
              </a:rPr>
              <a:t>	Route controller: For setting up routes in the underlying cloud infrastructure</a:t>
            </a:r>
          </a:p>
          <a:p>
            <a:r>
              <a:rPr lang="en-IN" sz="1000" b="0" i="0" kern="1200" dirty="0" smtClean="0">
                <a:solidFill>
                  <a:schemeClr val="tx1"/>
                </a:solidFill>
                <a:effectLst/>
                <a:latin typeface="Arial" pitchFamily="34" charset="0"/>
                <a:ea typeface="+mn-ea"/>
                <a:cs typeface="Arial" pitchFamily="34" charset="0"/>
              </a:rPr>
              <a:t>	Service controller: For creating, updating and deleting cloud provider load balancers</a:t>
            </a:r>
          </a:p>
          <a:p>
            <a:endParaRPr lang="en-IN" dirty="0"/>
          </a:p>
        </p:txBody>
      </p:sp>
    </p:spTree>
    <p:extLst>
      <p:ext uri="{BB962C8B-B14F-4D97-AF65-F5344CB8AC3E}">
        <p14:creationId xmlns:p14="http://schemas.microsoft.com/office/powerpoint/2010/main" val="1137124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has a decentralized architecture that does not handle tasks sequentially</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t functions based on a declarative model and implements the concept of a ‘</a:t>
            </a:r>
            <a:r>
              <a:rPr lang="en-IN" sz="1000" b="0" i="1" kern="1200" dirty="0" smtClean="0">
                <a:solidFill>
                  <a:schemeClr val="tx1"/>
                </a:solidFill>
                <a:effectLst/>
                <a:latin typeface="Arial" pitchFamily="34" charset="0"/>
                <a:ea typeface="+mn-ea"/>
                <a:cs typeface="Arial" pitchFamily="34" charset="0"/>
              </a:rPr>
              <a:t>desired state</a:t>
            </a:r>
            <a:r>
              <a:rPr lang="en-IN" sz="1000" b="0" i="0" kern="1200" dirty="0" smtClean="0">
                <a:solidFill>
                  <a:schemeClr val="tx1"/>
                </a:solidFill>
                <a:effectLst/>
                <a:latin typeface="Arial" pitchFamily="34" charset="0"/>
                <a:ea typeface="+mn-ea"/>
                <a:cs typeface="Arial" pitchFamily="34" charset="0"/>
              </a:rPr>
              <a:t>.’ These steps illustrate the basic Kubernetes proces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An administrator creates and places the desired state of an application into a manifest file.</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file is provided to the Kubernetes API Server using a CLI or UI.</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default command-line tool is called </a:t>
            </a:r>
            <a:r>
              <a:rPr lang="en-IN" sz="1000" b="1" i="1" kern="1200" dirty="0" smtClean="0">
                <a:solidFill>
                  <a:schemeClr val="tx1"/>
                </a:solidFill>
                <a:effectLst/>
                <a:latin typeface="Arial" pitchFamily="34" charset="0"/>
                <a:ea typeface="+mn-ea"/>
                <a:cs typeface="Arial" pitchFamily="34" charset="0"/>
              </a:rPr>
              <a:t>kubectl</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stores the file (an application’s desired state) in a database called the </a:t>
            </a:r>
            <a:r>
              <a:rPr lang="en-IN" sz="1000" b="1" i="0" kern="1200" dirty="0" smtClean="0">
                <a:solidFill>
                  <a:schemeClr val="tx1"/>
                </a:solidFill>
                <a:effectLst/>
                <a:latin typeface="Arial" pitchFamily="34" charset="0"/>
                <a:ea typeface="+mn-ea"/>
                <a:cs typeface="Arial" pitchFamily="34" charset="0"/>
              </a:rPr>
              <a:t>Key-Value Store (etcd)</a:t>
            </a:r>
            <a:r>
              <a:rPr lang="en-IN" sz="1000" b="0" i="0" kern="1200" dirty="0" smtClean="0">
                <a:solidFill>
                  <a:schemeClr val="tx1"/>
                </a:solidFill>
                <a:effectLst/>
                <a:latin typeface="Arial" pitchFamily="34" charset="0"/>
                <a:ea typeface="+mn-ea"/>
                <a:cs typeface="Arial" pitchFamily="34" charset="0"/>
              </a:rPr>
              <a:t>.</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then implements the desired state on all the relevant applications within the cluster.</a:t>
            </a:r>
          </a:p>
          <a:p>
            <a:pPr marL="171450" indent="-171450">
              <a:buFont typeface="Arial" panose="020B0604020202020204" pitchFamily="34" charset="0"/>
              <a:buChar char="•"/>
            </a:pPr>
            <a:r>
              <a:rPr lang="en-IN" sz="1000" b="0" i="0" u="none" strike="noStrike" kern="1200" dirty="0" smtClean="0">
                <a:solidFill>
                  <a:schemeClr val="tx1"/>
                </a:solidFill>
                <a:effectLst/>
                <a:latin typeface="Arial" pitchFamily="34" charset="0"/>
                <a:ea typeface="+mn-ea"/>
                <a:cs typeface="Arial" pitchFamily="34" charset="0"/>
                <a:hlinkClick r:id="rId3"/>
              </a:rPr>
              <a:t>Kubernetes continuously monitors the elements of the cluster</a:t>
            </a:r>
            <a:r>
              <a:rPr lang="en-IN" sz="1000" b="0" i="0" kern="1200" dirty="0" smtClean="0">
                <a:solidFill>
                  <a:schemeClr val="tx1"/>
                </a:solidFill>
                <a:effectLst/>
                <a:latin typeface="Arial" pitchFamily="34" charset="0"/>
                <a:ea typeface="+mn-ea"/>
                <a:cs typeface="Arial" pitchFamily="34" charset="0"/>
              </a:rPr>
              <a:t> to make sure the current state of the application does not vary from the desired state.</a:t>
            </a:r>
          </a:p>
          <a:p>
            <a:pPr marL="628650" lvl="1"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177462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smtClean="0"/>
              <a:t>Kubernetes master</a:t>
            </a:r>
            <a:r>
              <a:rPr lang="en-IN" baseline="0" dirty="0" smtClean="0"/>
              <a:t> is also called as Control Plane.</a:t>
            </a:r>
          </a:p>
          <a:p>
            <a:pPr marL="171450" indent="-171450">
              <a:buFont typeface="Arial" panose="020B0604020202020204" pitchFamily="34" charset="0"/>
              <a:buChar char="•"/>
            </a:pPr>
            <a:r>
              <a:rPr lang="en-IN" dirty="0" smtClean="0"/>
              <a:t>Kubernetes Maser is a collection of system services that makes up the control plane of master.</a:t>
            </a:r>
          </a:p>
          <a:p>
            <a:pPr marL="171450" indent="-171450">
              <a:buFont typeface="Arial" panose="020B0604020202020204" pitchFamily="34" charset="0"/>
              <a:buChar char="•"/>
            </a:pPr>
            <a:r>
              <a:rPr lang="en-IN" dirty="0" smtClean="0"/>
              <a:t>Kubernetes master control everything.</a:t>
            </a:r>
          </a:p>
          <a:p>
            <a:pPr marL="171450" indent="-171450">
              <a:buFont typeface="Arial" panose="020B0604020202020204" pitchFamily="34" charset="0"/>
              <a:buChar char="•"/>
            </a:pPr>
            <a:r>
              <a:rPr lang="en-IN" dirty="0" smtClean="0"/>
              <a:t>Kubernetes</a:t>
            </a:r>
            <a:r>
              <a:rPr lang="en-IN" baseline="0" dirty="0" smtClean="0"/>
              <a:t> cluster is made up of masters and nodes</a:t>
            </a:r>
            <a:endParaRPr lang="en-IN" dirty="0" smtClean="0"/>
          </a:p>
          <a:p>
            <a:pPr marL="171450" indent="-171450">
              <a:buFont typeface="Arial" panose="020B0604020202020204" pitchFamily="34" charset="0"/>
              <a:buChar char="•"/>
            </a:pPr>
            <a:r>
              <a:rPr lang="en-IN" dirty="0" smtClean="0"/>
              <a:t>First create  a  kubernetes master which is first step to create the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smtClean="0"/>
              <a:t>All container will be running in the node but not in the  Kube masters.</a:t>
            </a:r>
          </a:p>
          <a:p>
            <a:pPr marL="171450" indent="-171450">
              <a:buFont typeface="Arial" panose="020B0604020202020204" pitchFamily="34" charset="0"/>
              <a:buChar char="•"/>
            </a:pPr>
            <a:r>
              <a:rPr lang="en-IN" dirty="0" smtClean="0"/>
              <a:t>Get the node to join the clusters.</a:t>
            </a:r>
          </a:p>
          <a:p>
            <a:pPr marL="171450" indent="-171450">
              <a:buFont typeface="Arial" panose="020B0604020202020204" pitchFamily="34" charset="0"/>
              <a:buChar char="•"/>
            </a:pPr>
            <a:r>
              <a:rPr lang="en-IN" dirty="0" smtClean="0"/>
              <a:t>Pods</a:t>
            </a:r>
            <a:r>
              <a:rPr lang="en-IN" baseline="0" dirty="0" smtClean="0"/>
              <a:t> and container will be running on Nodes.</a:t>
            </a:r>
          </a:p>
          <a:p>
            <a:pPr marL="171450" indent="-171450">
              <a:buFont typeface="Arial" panose="020B0604020202020204" pitchFamily="34" charset="0"/>
              <a:buChar char="•"/>
            </a:pPr>
            <a:r>
              <a:rPr lang="en-IN" baseline="0" dirty="0" smtClean="0"/>
              <a:t>Master will  be only scheduling and replicating the  containers  across nodes and make sure that configuration is satisfied which is made in the beginning.</a:t>
            </a:r>
          </a:p>
          <a:p>
            <a:pPr marL="171450" indent="-171450">
              <a:buFont typeface="Arial" panose="020B0604020202020204" pitchFamily="34" charset="0"/>
              <a:buChar char="•"/>
            </a:pPr>
            <a:r>
              <a:rPr lang="en-IN" baseline="0" dirty="0" smtClean="0"/>
              <a:t>There are 2 ways to access Kubernetes Master</a:t>
            </a:r>
          </a:p>
          <a:p>
            <a:pPr marL="628650" lvl="1" indent="-171450">
              <a:buFont typeface="Arial" panose="020B0604020202020204" pitchFamily="34" charset="0"/>
              <a:buChar char="•"/>
            </a:pPr>
            <a:r>
              <a:rPr lang="en-IN" baseline="0" dirty="0" smtClean="0"/>
              <a:t>- Using CLI – Default Way where we can enable the dashboard.</a:t>
            </a:r>
          </a:p>
          <a:p>
            <a:pPr marL="628650" lvl="1" indent="-171450">
              <a:buFont typeface="Arial" panose="020B0604020202020204" pitchFamily="34" charset="0"/>
              <a:buChar char="•"/>
            </a:pPr>
            <a:r>
              <a:rPr lang="en-IN" baseline="0" dirty="0" smtClean="0"/>
              <a:t>- Using GUI – </a:t>
            </a:r>
          </a:p>
          <a:p>
            <a:pPr marL="628650" lvl="1"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baseline="0"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1822872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Kubernetes Master (Master Node) receives input from a CLI (Command-Line Interface) or UI (User Interface) via an API. These are the commands you provide to Kubernete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You define pods, replica sets, and services that you want Kubernetes to maintain. For example, which container image to use, which ports to expose, and how many pod replicas to run.</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You also provide the parameters of the desired state for the application(s) running in that clust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Following are key components of Kubernetes master</a:t>
            </a:r>
          </a:p>
          <a:p>
            <a:r>
              <a:rPr lang="en-IN" sz="1000" b="1" i="0" kern="1200" dirty="0" smtClean="0">
                <a:solidFill>
                  <a:schemeClr val="tx1"/>
                </a:solidFill>
                <a:effectLst/>
                <a:latin typeface="Arial" pitchFamily="34" charset="0"/>
                <a:ea typeface="+mn-ea"/>
                <a:cs typeface="Arial" pitchFamily="34" charset="0"/>
              </a:rPr>
              <a:t>               -API Server</a:t>
            </a:r>
          </a:p>
          <a:p>
            <a:r>
              <a:rPr lang="en-IN" sz="1000" b="0" i="0" kern="1200" dirty="0" smtClean="0">
                <a:solidFill>
                  <a:schemeClr val="tx1"/>
                </a:solidFill>
                <a:effectLst/>
                <a:latin typeface="Arial" pitchFamily="34" charset="0"/>
                <a:ea typeface="+mn-ea"/>
                <a:cs typeface="Arial" pitchFamily="34" charset="0"/>
              </a:rPr>
              <a:t>	The </a:t>
            </a:r>
            <a:r>
              <a:rPr lang="en-IN" sz="1000" b="1" i="0" kern="1200" dirty="0" smtClean="0">
                <a:solidFill>
                  <a:schemeClr val="tx1"/>
                </a:solidFill>
                <a:effectLst/>
                <a:latin typeface="Arial" pitchFamily="34" charset="0"/>
                <a:ea typeface="+mn-ea"/>
                <a:cs typeface="Arial" pitchFamily="34" charset="0"/>
              </a:rPr>
              <a:t>API Server</a:t>
            </a:r>
            <a:r>
              <a:rPr lang="en-IN" sz="1000" b="0" i="0" kern="1200" dirty="0" smtClean="0">
                <a:solidFill>
                  <a:schemeClr val="tx1"/>
                </a:solidFill>
                <a:effectLst/>
                <a:latin typeface="Arial" pitchFamily="34" charset="0"/>
                <a:ea typeface="+mn-ea"/>
                <a:cs typeface="Arial" pitchFamily="34" charset="0"/>
              </a:rPr>
              <a:t> is the front-end of the control plane and the only component in the control plane that we interact</a:t>
            </a:r>
          </a:p>
          <a:p>
            <a:r>
              <a:rPr lang="en-IN" sz="1000" b="0" i="0" kern="1200" dirty="0" smtClean="0">
                <a:solidFill>
                  <a:schemeClr val="tx1"/>
                </a:solidFill>
                <a:effectLst/>
                <a:latin typeface="Arial" pitchFamily="34" charset="0"/>
                <a:ea typeface="+mn-ea"/>
                <a:cs typeface="Arial" pitchFamily="34" charset="0"/>
              </a:rPr>
              <a:t>	 with directly. Internal system components, as well as external user components, all communicate via the same API.</a:t>
            </a:r>
          </a:p>
          <a:p>
            <a:r>
              <a:rPr lang="en-IN" sz="1000" b="1" i="0" kern="1200" dirty="0" smtClean="0">
                <a:solidFill>
                  <a:schemeClr val="tx1"/>
                </a:solidFill>
                <a:effectLst/>
                <a:latin typeface="Arial" pitchFamily="34" charset="0"/>
                <a:ea typeface="+mn-ea"/>
                <a:cs typeface="Arial" pitchFamily="34" charset="0"/>
              </a:rPr>
              <a:t>              -Key-Value Store (etcd)</a:t>
            </a:r>
          </a:p>
          <a:p>
            <a:r>
              <a:rPr lang="en-IN" sz="1000" b="0" i="0" kern="1200" dirty="0" smtClean="0">
                <a:solidFill>
                  <a:schemeClr val="tx1"/>
                </a:solidFill>
                <a:effectLst/>
                <a:latin typeface="Arial" pitchFamily="34" charset="0"/>
                <a:ea typeface="+mn-ea"/>
                <a:cs typeface="Arial" pitchFamily="34" charset="0"/>
              </a:rPr>
              <a:t>	The Key-Value Store, also called </a:t>
            </a:r>
            <a:r>
              <a:rPr lang="en-IN" sz="1000" b="1" i="0" kern="1200" dirty="0" smtClean="0">
                <a:solidFill>
                  <a:schemeClr val="tx1"/>
                </a:solidFill>
                <a:effectLst/>
                <a:latin typeface="Arial" pitchFamily="34" charset="0"/>
                <a:ea typeface="+mn-ea"/>
                <a:cs typeface="Arial" pitchFamily="34" charset="0"/>
              </a:rPr>
              <a:t>etcd</a:t>
            </a:r>
            <a:r>
              <a:rPr lang="en-IN" sz="1000" b="0" i="0" kern="1200" dirty="0" smtClean="0">
                <a:solidFill>
                  <a:schemeClr val="tx1"/>
                </a:solidFill>
                <a:effectLst/>
                <a:latin typeface="Arial" pitchFamily="34" charset="0"/>
                <a:ea typeface="+mn-ea"/>
                <a:cs typeface="Arial" pitchFamily="34" charset="0"/>
              </a:rPr>
              <a:t>, is a database Kubernetes uses to back-up all cluster data. It stores the entire configuration and state of 	the cluster. The Master node queries </a:t>
            </a:r>
            <a:r>
              <a:rPr lang="en-IN" sz="1000" b="1" i="0" kern="1200" dirty="0" smtClean="0">
                <a:solidFill>
                  <a:schemeClr val="tx1"/>
                </a:solidFill>
                <a:effectLst/>
                <a:latin typeface="Arial" pitchFamily="34" charset="0"/>
                <a:ea typeface="+mn-ea"/>
                <a:cs typeface="Arial" pitchFamily="34" charset="0"/>
              </a:rPr>
              <a:t>etcd</a:t>
            </a:r>
            <a:r>
              <a:rPr lang="en-IN" sz="1000" b="0" i="0" kern="1200" dirty="0" smtClean="0">
                <a:solidFill>
                  <a:schemeClr val="tx1"/>
                </a:solidFill>
                <a:effectLst/>
                <a:latin typeface="Arial" pitchFamily="34" charset="0"/>
                <a:ea typeface="+mn-ea"/>
                <a:cs typeface="Arial" pitchFamily="34" charset="0"/>
              </a:rPr>
              <a:t> to retrieve parameters for the state of the nodes, pods, and containers.</a:t>
            </a:r>
          </a:p>
          <a:p>
            <a:r>
              <a:rPr lang="en-IN" sz="1000" b="1" i="0" kern="1200" dirty="0" smtClean="0">
                <a:solidFill>
                  <a:schemeClr val="tx1"/>
                </a:solidFill>
                <a:effectLst/>
                <a:latin typeface="Arial" pitchFamily="34" charset="0"/>
                <a:ea typeface="+mn-ea"/>
                <a:cs typeface="Arial" pitchFamily="34" charset="0"/>
              </a:rPr>
              <a:t>                -Controller</a:t>
            </a:r>
          </a:p>
          <a:p>
            <a:r>
              <a:rPr lang="en-IN" sz="1000" b="0" i="0" kern="1200" dirty="0" smtClean="0">
                <a:solidFill>
                  <a:schemeClr val="tx1"/>
                </a:solidFill>
                <a:effectLst/>
                <a:latin typeface="Arial" pitchFamily="34" charset="0"/>
                <a:ea typeface="+mn-ea"/>
                <a:cs typeface="Arial" pitchFamily="34" charset="0"/>
              </a:rPr>
              <a:t>	The role of the </a:t>
            </a:r>
            <a:r>
              <a:rPr lang="en-IN" sz="1000" b="1" i="0" kern="1200" dirty="0" smtClean="0">
                <a:solidFill>
                  <a:schemeClr val="tx1"/>
                </a:solidFill>
                <a:effectLst/>
                <a:latin typeface="Arial" pitchFamily="34" charset="0"/>
                <a:ea typeface="+mn-ea"/>
                <a:cs typeface="Arial" pitchFamily="34" charset="0"/>
              </a:rPr>
              <a:t>Controller</a:t>
            </a:r>
            <a:r>
              <a:rPr lang="en-IN" sz="1000" b="0" i="0" kern="1200" dirty="0" smtClean="0">
                <a:solidFill>
                  <a:schemeClr val="tx1"/>
                </a:solidFill>
                <a:effectLst/>
                <a:latin typeface="Arial" pitchFamily="34" charset="0"/>
                <a:ea typeface="+mn-ea"/>
                <a:cs typeface="Arial" pitchFamily="34" charset="0"/>
              </a:rPr>
              <a:t> is to obtain the desired state from the API Server. It checks the current state of the nodes it is tasked to control, and 	determines if there are any differences, and resolves them, if any.</a:t>
            </a:r>
          </a:p>
          <a:p>
            <a:r>
              <a:rPr lang="en-IN" sz="1000" b="1" i="0" kern="1200" dirty="0" smtClean="0">
                <a:solidFill>
                  <a:schemeClr val="tx1"/>
                </a:solidFill>
                <a:effectLst/>
                <a:latin typeface="Arial" pitchFamily="34" charset="0"/>
                <a:ea typeface="+mn-ea"/>
                <a:cs typeface="Arial" pitchFamily="34" charset="0"/>
              </a:rPr>
              <a:t>                  -Scheduler</a:t>
            </a:r>
          </a:p>
          <a:p>
            <a:r>
              <a:rPr lang="en-IN" sz="1000" b="0" i="0" kern="1200" dirty="0" smtClean="0">
                <a:solidFill>
                  <a:schemeClr val="tx1"/>
                </a:solidFill>
                <a:effectLst/>
                <a:latin typeface="Arial" pitchFamily="34" charset="0"/>
                <a:ea typeface="+mn-ea"/>
                <a:cs typeface="Arial" pitchFamily="34" charset="0"/>
              </a:rPr>
              <a:t>	A </a:t>
            </a:r>
            <a:r>
              <a:rPr lang="en-IN" sz="1000" b="1" i="0" kern="1200" dirty="0" smtClean="0">
                <a:solidFill>
                  <a:schemeClr val="tx1"/>
                </a:solidFill>
                <a:effectLst/>
                <a:latin typeface="Arial" pitchFamily="34" charset="0"/>
                <a:ea typeface="+mn-ea"/>
                <a:cs typeface="Arial" pitchFamily="34" charset="0"/>
              </a:rPr>
              <a:t>Scheduler</a:t>
            </a:r>
            <a:r>
              <a:rPr lang="en-IN" sz="1000" b="0" i="0" kern="1200" dirty="0" smtClean="0">
                <a:solidFill>
                  <a:schemeClr val="tx1"/>
                </a:solidFill>
                <a:effectLst/>
                <a:latin typeface="Arial" pitchFamily="34" charset="0"/>
                <a:ea typeface="+mn-ea"/>
                <a:cs typeface="Arial" pitchFamily="34" charset="0"/>
              </a:rPr>
              <a:t> watches for new requests coming from the API Server and assigns them to healthy nodes. It ranks the quality of the nodes and 	deploys pods to the best-suited node. If there are no suitable nodes, the pods are put in a pending state until such a node appears.</a:t>
            </a:r>
          </a:p>
          <a:p>
            <a:pPr marL="628650" lvl="1" indent="-171450">
              <a:buFont typeface="Arial" panose="020B0604020202020204" pitchFamily="34" charset="0"/>
              <a:buChar char="•"/>
            </a:pPr>
            <a:endParaRPr lang="en-IN" dirty="0"/>
          </a:p>
        </p:txBody>
      </p:sp>
    </p:spTree>
    <p:extLst>
      <p:ext uri="{BB962C8B-B14F-4D97-AF65-F5344CB8AC3E}">
        <p14:creationId xmlns:p14="http://schemas.microsoft.com/office/powerpoint/2010/main" val="4143284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en-IN" dirty="0" smtClean="0"/>
              <a:t>Node are workers/slave</a:t>
            </a:r>
            <a:r>
              <a:rPr lang="en-IN" baseline="0" dirty="0" smtClean="0"/>
              <a:t> of kubernetes clust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Worker nodes listen to the API Server for new work assignments; t</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y execute the work assignments and then report the results back to the Kubernetes Master node.</a:t>
            </a:r>
          </a:p>
          <a:p>
            <a:pPr marL="171450" indent="-171450">
              <a:buFont typeface="Arial" panose="020B0604020202020204" pitchFamily="34" charset="0"/>
              <a:buChar char="•"/>
            </a:pPr>
            <a:r>
              <a:rPr lang="en-IN" sz="1000" b="0" i="0" kern="1200" baseline="0" dirty="0" smtClean="0">
                <a:solidFill>
                  <a:schemeClr val="tx1"/>
                </a:solidFill>
                <a:effectLst/>
                <a:latin typeface="Arial" pitchFamily="34" charset="0"/>
                <a:ea typeface="+mn-ea"/>
                <a:cs typeface="Arial" pitchFamily="34" charset="0"/>
              </a:rPr>
              <a:t>Following are the major components of Kubernetes.</a:t>
            </a:r>
            <a:endParaRPr lang="en-IN" baseline="0" dirty="0" smtClean="0"/>
          </a:p>
          <a:p>
            <a:r>
              <a:rPr lang="en-IN" sz="1000" b="1" i="0" kern="1200" baseline="0" dirty="0" smtClean="0">
                <a:solidFill>
                  <a:schemeClr val="tx1"/>
                </a:solidFill>
                <a:effectLst/>
                <a:latin typeface="Arial" pitchFamily="34" charset="0"/>
                <a:ea typeface="+mn-ea"/>
                <a:cs typeface="Arial" pitchFamily="34" charset="0"/>
              </a:rPr>
              <a:t>       -</a:t>
            </a:r>
            <a:r>
              <a:rPr lang="en-IN" sz="1000" b="1" i="0" kern="1200" dirty="0" smtClean="0">
                <a:solidFill>
                  <a:schemeClr val="tx1"/>
                </a:solidFill>
                <a:effectLst/>
                <a:latin typeface="Arial" pitchFamily="34" charset="0"/>
                <a:ea typeface="+mn-ea"/>
                <a:cs typeface="Arial" pitchFamily="34" charset="0"/>
              </a:rPr>
              <a:t>Kubelet</a:t>
            </a:r>
          </a:p>
          <a:p>
            <a:r>
              <a:rPr lang="en-IN" sz="1000" b="0" i="0" kern="1200" dirty="0" smtClean="0">
                <a:solidFill>
                  <a:schemeClr val="tx1"/>
                </a:solidFill>
                <a:effectLst/>
                <a:latin typeface="Arial" pitchFamily="34" charset="0"/>
                <a:ea typeface="+mn-ea"/>
                <a:cs typeface="Arial" pitchFamily="34" charset="0"/>
              </a:rPr>
              <a:t>	The </a:t>
            </a:r>
            <a:r>
              <a:rPr lang="en-IN" sz="1000" b="1" i="0" kern="1200" dirty="0" smtClean="0">
                <a:solidFill>
                  <a:schemeClr val="tx1"/>
                </a:solidFill>
                <a:effectLst/>
                <a:latin typeface="Arial" pitchFamily="34" charset="0"/>
                <a:ea typeface="+mn-ea"/>
                <a:cs typeface="Arial" pitchFamily="34" charset="0"/>
              </a:rPr>
              <a:t>kubelet</a:t>
            </a:r>
            <a:r>
              <a:rPr lang="en-IN" sz="1000" b="0" i="0" kern="1200" dirty="0" smtClean="0">
                <a:solidFill>
                  <a:schemeClr val="tx1"/>
                </a:solidFill>
                <a:effectLst/>
                <a:latin typeface="Arial" pitchFamily="34" charset="0"/>
                <a:ea typeface="+mn-ea"/>
                <a:cs typeface="Arial" pitchFamily="34" charset="0"/>
              </a:rPr>
              <a:t> runs on every node in the cluster. It is the principal Kubernetes agent. By installing kubelet, the node’s CPU, RAM, and storage 	become part of the broader cluster. It watches for tasks sent from the API Server, executes the task, and reports back to the Master. It also 	monitors pods and reports back to the control panel if a pod is not fully functional. Based on that information, the Master can then decide how 	to allocate tasks and resources to reach the desired state.</a:t>
            </a:r>
          </a:p>
          <a:p>
            <a:r>
              <a:rPr lang="en-IN" sz="1000" b="1" i="0" kern="1200" dirty="0" smtClean="0">
                <a:solidFill>
                  <a:schemeClr val="tx1"/>
                </a:solidFill>
                <a:effectLst/>
                <a:latin typeface="Arial" pitchFamily="34" charset="0"/>
                <a:ea typeface="+mn-ea"/>
                <a:cs typeface="Arial" pitchFamily="34" charset="0"/>
              </a:rPr>
              <a:t>     - Container Runtime</a:t>
            </a:r>
          </a:p>
          <a:p>
            <a:r>
              <a:rPr lang="en-IN" sz="1000" b="0" i="0" kern="1200" dirty="0" smtClean="0">
                <a:solidFill>
                  <a:schemeClr val="tx1"/>
                </a:solidFill>
                <a:effectLst/>
                <a:latin typeface="Arial" pitchFamily="34" charset="0"/>
                <a:ea typeface="+mn-ea"/>
                <a:cs typeface="Arial" pitchFamily="34" charset="0"/>
              </a:rPr>
              <a:t>	The </a:t>
            </a:r>
            <a:r>
              <a:rPr lang="en-IN" sz="1000" b="1" i="0" kern="1200" dirty="0" smtClean="0">
                <a:solidFill>
                  <a:schemeClr val="tx1"/>
                </a:solidFill>
                <a:effectLst/>
                <a:latin typeface="Arial" pitchFamily="34" charset="0"/>
                <a:ea typeface="+mn-ea"/>
                <a:cs typeface="Arial" pitchFamily="34" charset="0"/>
              </a:rPr>
              <a:t>container runtime</a:t>
            </a:r>
            <a:r>
              <a:rPr lang="en-IN" sz="1000" b="0" i="0" kern="1200" dirty="0" smtClean="0">
                <a:solidFill>
                  <a:schemeClr val="tx1"/>
                </a:solidFill>
                <a:effectLst/>
                <a:latin typeface="Arial" pitchFamily="34" charset="0"/>
                <a:ea typeface="+mn-ea"/>
                <a:cs typeface="Arial" pitchFamily="34" charset="0"/>
              </a:rPr>
              <a:t> pulls images from a </a:t>
            </a:r>
            <a:r>
              <a:rPr lang="en-IN" sz="1000" b="1" i="0" kern="1200" dirty="0" smtClean="0">
                <a:solidFill>
                  <a:schemeClr val="tx1"/>
                </a:solidFill>
                <a:effectLst/>
                <a:latin typeface="Arial" pitchFamily="34" charset="0"/>
                <a:ea typeface="+mn-ea"/>
                <a:cs typeface="Arial" pitchFamily="34" charset="0"/>
              </a:rPr>
              <a:t>container image registry</a:t>
            </a:r>
            <a:r>
              <a:rPr lang="en-IN" sz="1000" b="0" i="0" kern="1200" dirty="0" smtClean="0">
                <a:solidFill>
                  <a:schemeClr val="tx1"/>
                </a:solidFill>
                <a:effectLst/>
                <a:latin typeface="Arial" pitchFamily="34" charset="0"/>
                <a:ea typeface="+mn-ea"/>
                <a:cs typeface="Arial" pitchFamily="34" charset="0"/>
              </a:rPr>
              <a:t> and starts and stops containers. A 3</a:t>
            </a:r>
            <a:r>
              <a:rPr lang="en-IN" sz="1000" b="0" i="0" kern="1200" baseline="30000" dirty="0" smtClean="0">
                <a:solidFill>
                  <a:schemeClr val="tx1"/>
                </a:solidFill>
                <a:effectLst/>
                <a:latin typeface="Arial" pitchFamily="34" charset="0"/>
                <a:ea typeface="+mn-ea"/>
                <a:cs typeface="Arial" pitchFamily="34" charset="0"/>
              </a:rPr>
              <a:t>rd</a:t>
            </a:r>
            <a:r>
              <a:rPr lang="en-IN" sz="1000" b="0" i="0" kern="1200" dirty="0" smtClean="0">
                <a:solidFill>
                  <a:schemeClr val="tx1"/>
                </a:solidFill>
                <a:effectLst/>
                <a:latin typeface="Arial" pitchFamily="34" charset="0"/>
                <a:ea typeface="+mn-ea"/>
                <a:cs typeface="Arial" pitchFamily="34" charset="0"/>
              </a:rPr>
              <a:t> party software or plugin, such as 	Docker, usually performs this function.</a:t>
            </a:r>
          </a:p>
          <a:p>
            <a:r>
              <a:rPr lang="en-IN" sz="1000" b="1" i="0" kern="1200" dirty="0" smtClean="0">
                <a:solidFill>
                  <a:schemeClr val="tx1"/>
                </a:solidFill>
                <a:effectLst/>
                <a:latin typeface="Arial" pitchFamily="34" charset="0"/>
                <a:ea typeface="+mn-ea"/>
                <a:cs typeface="Arial" pitchFamily="34" charset="0"/>
              </a:rPr>
              <a:t>    </a:t>
            </a:r>
            <a:r>
              <a:rPr lang="en-IN" sz="1000" b="1" i="0" kern="1200" baseline="0" dirty="0" smtClean="0">
                <a:solidFill>
                  <a:schemeClr val="tx1"/>
                </a:solidFill>
                <a:effectLst/>
                <a:latin typeface="Arial" pitchFamily="34" charset="0"/>
                <a:ea typeface="+mn-ea"/>
                <a:cs typeface="Arial" pitchFamily="34" charset="0"/>
              </a:rPr>
              <a:t> -</a:t>
            </a:r>
            <a:r>
              <a:rPr lang="en-IN" sz="1000" b="1" i="0" kern="1200" dirty="0" smtClean="0">
                <a:solidFill>
                  <a:schemeClr val="tx1"/>
                </a:solidFill>
                <a:effectLst/>
                <a:latin typeface="Arial" pitchFamily="34" charset="0"/>
                <a:ea typeface="+mn-ea"/>
                <a:cs typeface="Arial" pitchFamily="34" charset="0"/>
              </a:rPr>
              <a:t> Kube-proxy</a:t>
            </a:r>
          </a:p>
          <a:p>
            <a:r>
              <a:rPr lang="en-IN" sz="1000" b="0" i="0" kern="1200" dirty="0" smtClean="0">
                <a:solidFill>
                  <a:schemeClr val="tx1"/>
                </a:solidFill>
                <a:effectLst/>
                <a:latin typeface="Arial" pitchFamily="34" charset="0"/>
                <a:ea typeface="+mn-ea"/>
                <a:cs typeface="Arial" pitchFamily="34" charset="0"/>
              </a:rPr>
              <a:t>	The </a:t>
            </a:r>
            <a:r>
              <a:rPr lang="en-IN" sz="1000" b="1" i="0" kern="1200" dirty="0" smtClean="0">
                <a:solidFill>
                  <a:schemeClr val="tx1"/>
                </a:solidFill>
                <a:effectLst/>
                <a:latin typeface="Arial" pitchFamily="34" charset="0"/>
                <a:ea typeface="+mn-ea"/>
                <a:cs typeface="Arial" pitchFamily="34" charset="0"/>
              </a:rPr>
              <a:t>kube-proxy</a:t>
            </a:r>
            <a:r>
              <a:rPr lang="en-IN" sz="1000" b="0" i="0" kern="1200" dirty="0" smtClean="0">
                <a:solidFill>
                  <a:schemeClr val="tx1"/>
                </a:solidFill>
                <a:effectLst/>
                <a:latin typeface="Arial" pitchFamily="34" charset="0"/>
                <a:ea typeface="+mn-ea"/>
                <a:cs typeface="Arial" pitchFamily="34" charset="0"/>
              </a:rPr>
              <a:t> makes sure that each node gets its IP address, implements local </a:t>
            </a:r>
            <a:r>
              <a:rPr lang="en-IN" sz="1000" b="0" i="1" kern="1200" dirty="0" smtClean="0">
                <a:solidFill>
                  <a:schemeClr val="tx1"/>
                </a:solidFill>
                <a:effectLst/>
                <a:latin typeface="Arial" pitchFamily="34" charset="0"/>
                <a:ea typeface="+mn-ea"/>
                <a:cs typeface="Arial" pitchFamily="34" charset="0"/>
              </a:rPr>
              <a:t>iptables</a:t>
            </a:r>
            <a:r>
              <a:rPr lang="en-IN" sz="1000" b="0" i="0" kern="1200" dirty="0" smtClean="0">
                <a:solidFill>
                  <a:schemeClr val="tx1"/>
                </a:solidFill>
                <a:effectLst/>
                <a:latin typeface="Arial" pitchFamily="34" charset="0"/>
                <a:ea typeface="+mn-ea"/>
                <a:cs typeface="Arial" pitchFamily="34" charset="0"/>
              </a:rPr>
              <a:t> and rules to handle routing and traffic load-balancing.</a:t>
            </a:r>
          </a:p>
          <a:p>
            <a:r>
              <a:rPr lang="en-IN" sz="1000" b="1" i="0" kern="1200" dirty="0" smtClean="0">
                <a:solidFill>
                  <a:schemeClr val="tx1"/>
                </a:solidFill>
                <a:effectLst/>
                <a:latin typeface="Arial" pitchFamily="34" charset="0"/>
                <a:ea typeface="+mn-ea"/>
                <a:cs typeface="Arial" pitchFamily="34" charset="0"/>
              </a:rPr>
              <a:t>     - Pod</a:t>
            </a:r>
          </a:p>
          <a:p>
            <a:r>
              <a:rPr lang="en-IN" sz="1000" b="0" i="0" kern="1200" dirty="0" smtClean="0">
                <a:solidFill>
                  <a:schemeClr val="tx1"/>
                </a:solidFill>
                <a:effectLst/>
                <a:latin typeface="Arial" pitchFamily="34" charset="0"/>
                <a:ea typeface="+mn-ea"/>
                <a:cs typeface="Arial" pitchFamily="34" charset="0"/>
              </a:rPr>
              <a:t>	A </a:t>
            </a:r>
            <a:r>
              <a:rPr lang="en-IN" sz="1000" b="1" i="0" kern="1200" dirty="0" smtClean="0">
                <a:solidFill>
                  <a:schemeClr val="tx1"/>
                </a:solidFill>
                <a:effectLst/>
                <a:latin typeface="Arial" pitchFamily="34" charset="0"/>
                <a:ea typeface="+mn-ea"/>
                <a:cs typeface="Arial" pitchFamily="34" charset="0"/>
              </a:rPr>
              <a:t>pod</a:t>
            </a:r>
            <a:r>
              <a:rPr lang="en-IN" sz="1000" b="0" i="0" kern="1200" dirty="0" smtClean="0">
                <a:solidFill>
                  <a:schemeClr val="tx1"/>
                </a:solidFill>
                <a:effectLst/>
                <a:latin typeface="Arial" pitchFamily="34" charset="0"/>
                <a:ea typeface="+mn-ea"/>
                <a:cs typeface="Arial" pitchFamily="34" charset="0"/>
              </a:rPr>
              <a:t> is the smallest element of scheduling in Kubernetes. Without it, a container cannot be part of a cluster. If you need to scale your app, you 	can only do so by adding or removing pods.</a:t>
            </a:r>
          </a:p>
          <a:p>
            <a:r>
              <a:rPr lang="en-IN" sz="1000" b="0" i="0" kern="1200" dirty="0" smtClean="0">
                <a:solidFill>
                  <a:schemeClr val="tx1"/>
                </a:solidFill>
                <a:effectLst/>
                <a:latin typeface="Arial" pitchFamily="34" charset="0"/>
                <a:ea typeface="+mn-ea"/>
                <a:cs typeface="Arial" pitchFamily="34" charset="0"/>
              </a:rPr>
              <a:t>	The pod serves as a ‘wrapper’ for a single container with the application code. Based on the availability of resources, the Master schedules the 	pod on a specific node and coordinates with the container runtime to launch the container</a:t>
            </a:r>
          </a:p>
          <a:p>
            <a:pPr marL="171450" indent="-171450">
              <a:buFont typeface="Arial" panose="020B0604020202020204" pitchFamily="34" charset="0"/>
              <a:buChar char="•"/>
            </a:pPr>
            <a:endParaRPr lang="en-IN" dirty="0" smtClean="0"/>
          </a:p>
        </p:txBody>
      </p:sp>
    </p:spTree>
    <p:extLst>
      <p:ext uri="{BB962C8B-B14F-4D97-AF65-F5344CB8AC3E}">
        <p14:creationId xmlns:p14="http://schemas.microsoft.com/office/powerpoint/2010/main" val="41346363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01731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9075935"/>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65703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772748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54572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9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19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9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06792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6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445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53154442"/>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dirty="0"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0123089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47707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9" r:id="rId7"/>
    <p:sldLayoutId id="2147483740" r:id="rId8"/>
    <p:sldLayoutId id="2147483741" r:id="rId9"/>
    <p:sldLayoutId id="2147483742" r:id="rId10"/>
    <p:sldLayoutId id="2147483743" r:id="rId11"/>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kubernetes.io/docs/concepts/overview/components/#control-plane-components" TargetMode="External"/><Relationship Id="rId7" Type="http://schemas.openxmlformats.org/officeDocument/2006/relationships/diagramColors" Target="../diagrams/colors3.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185880" y="3221027"/>
            <a:ext cx="6067686" cy="573734"/>
          </a:xfrm>
        </p:spPr>
        <p:txBody>
          <a:bodyPr>
            <a:normAutofit/>
          </a:bodyPr>
          <a:lstStyle/>
          <a:p>
            <a:endParaRPr lang="en-US" sz="2400" dirty="0"/>
          </a:p>
          <a:p>
            <a:r>
              <a:rPr lang="en-US" sz="2400" b="0" dirty="0" smtClean="0"/>
              <a:t>Lesson01- Kubernetes Architecture</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354632"/>
          </a:xfrm>
        </p:spPr>
        <p:txBody>
          <a:bodyPr/>
          <a:lstStyle/>
          <a:p>
            <a:r>
              <a:rPr lang="en-IN" dirty="0"/>
              <a:t>Kubernetes </a:t>
            </a:r>
            <a:r>
              <a:rPr lang="en-IN" dirty="0">
                <a:solidFill>
                  <a:srgbClr val="0070C0"/>
                </a:solidFill>
              </a:rPr>
              <a:t>Architecture-</a:t>
            </a:r>
            <a:r>
              <a:rPr lang="en-US" dirty="0">
                <a:solidFill>
                  <a:srgbClr val="0070C0"/>
                </a:solidFill>
                <a:cs typeface="Arial" pitchFamily="34" charset="0"/>
              </a:rPr>
              <a:t>Kubernetes </a:t>
            </a:r>
            <a:r>
              <a:rPr lang="en-US" dirty="0" smtClean="0">
                <a:solidFill>
                  <a:srgbClr val="0070C0"/>
                </a:solidFill>
                <a:cs typeface="Arial" pitchFamily="34" charset="0"/>
              </a:rPr>
              <a:t>Nodes</a:t>
            </a:r>
            <a:endParaRPr lang="en-IN" dirty="0"/>
          </a:p>
        </p:txBody>
      </p:sp>
      <p:pic>
        <p:nvPicPr>
          <p:cNvPr id="4" name="Picture 3"/>
          <p:cNvPicPr>
            <a:picLocks noChangeAspect="1"/>
          </p:cNvPicPr>
          <p:nvPr/>
        </p:nvPicPr>
        <p:blipFill>
          <a:blip r:embed="rId3"/>
          <a:stretch>
            <a:fillRect/>
          </a:stretch>
        </p:blipFill>
        <p:spPr>
          <a:xfrm>
            <a:off x="309801" y="848220"/>
            <a:ext cx="8306248" cy="5252085"/>
          </a:xfrm>
          <a:prstGeom prst="rect">
            <a:avLst/>
          </a:prstGeom>
        </p:spPr>
      </p:pic>
    </p:spTree>
    <p:extLst>
      <p:ext uri="{BB962C8B-B14F-4D97-AF65-F5344CB8AC3E}">
        <p14:creationId xmlns:p14="http://schemas.microsoft.com/office/powerpoint/2010/main" val="8506837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03669"/>
          </a:xfrm>
        </p:spPr>
        <p:txBody>
          <a:bodyPr/>
          <a:lstStyle/>
          <a:p>
            <a:r>
              <a:rPr lang="en-IN" dirty="0">
                <a:solidFill>
                  <a:srgbClr val="0070C0"/>
                </a:solidFill>
              </a:rPr>
              <a:t>Kubernetes Architecture-</a:t>
            </a:r>
            <a:r>
              <a:rPr lang="en-US" dirty="0">
                <a:solidFill>
                  <a:srgbClr val="0070C0"/>
                </a:solidFill>
                <a:latin typeface="Arial" pitchFamily="34" charset="0"/>
                <a:cs typeface="Arial" pitchFamily="34" charset="0"/>
              </a:rPr>
              <a:t>The Declarative Model and Desired State</a:t>
            </a:r>
            <a:endParaRPr lang="en-IN" dirty="0">
              <a:solidFill>
                <a:srgbClr val="0070C0"/>
              </a:solidFill>
            </a:endParaRPr>
          </a:p>
        </p:txBody>
      </p:sp>
      <p:graphicFrame>
        <p:nvGraphicFramePr>
          <p:cNvPr id="3" name="Diagram 2"/>
          <p:cNvGraphicFramePr/>
          <p:nvPr>
            <p:extLst>
              <p:ext uri="{D42A27DB-BD31-4B8C-83A1-F6EECF244321}">
                <p14:modId xmlns:p14="http://schemas.microsoft.com/office/powerpoint/2010/main" val="2705921486"/>
              </p:ext>
            </p:extLst>
          </p:nvPr>
        </p:nvGraphicFramePr>
        <p:xfrm>
          <a:off x="556181" y="1058091"/>
          <a:ext cx="8182466" cy="5550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53982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39639"/>
          </a:xfrm>
        </p:spPr>
        <p:txBody>
          <a:bodyPr/>
          <a:lstStyle/>
          <a:p>
            <a:r>
              <a:rPr lang="en-IN" dirty="0"/>
              <a:t>Kubernetes </a:t>
            </a:r>
            <a:r>
              <a:rPr lang="en-IN" dirty="0" smtClean="0">
                <a:solidFill>
                  <a:srgbClr val="0070C0"/>
                </a:solidFill>
              </a:rPr>
              <a:t>Architecture-</a:t>
            </a:r>
            <a:r>
              <a:rPr lang="en-US" dirty="0" smtClean="0">
                <a:solidFill>
                  <a:srgbClr val="0070C0"/>
                </a:solidFill>
                <a:latin typeface="Arial" pitchFamily="34" charset="0"/>
                <a:cs typeface="Arial" pitchFamily="34" charset="0"/>
              </a:rPr>
              <a:t>Kubernetes PODS</a:t>
            </a:r>
            <a:endParaRPr lang="en-IN" dirty="0">
              <a:solidFill>
                <a:srgbClr val="0070C0"/>
              </a:solidFill>
            </a:endParaRPr>
          </a:p>
        </p:txBody>
      </p:sp>
      <p:pic>
        <p:nvPicPr>
          <p:cNvPr id="4" name="Picture 3"/>
          <p:cNvPicPr>
            <a:picLocks noChangeAspect="1"/>
          </p:cNvPicPr>
          <p:nvPr/>
        </p:nvPicPr>
        <p:blipFill>
          <a:blip r:embed="rId3"/>
          <a:stretch>
            <a:fillRect/>
          </a:stretch>
        </p:blipFill>
        <p:spPr>
          <a:xfrm>
            <a:off x="562061" y="1392573"/>
            <a:ext cx="7637477" cy="4806892"/>
          </a:xfrm>
          <a:prstGeom prst="rect">
            <a:avLst/>
          </a:prstGeom>
        </p:spPr>
      </p:pic>
    </p:spTree>
    <p:extLst>
      <p:ext uri="{BB962C8B-B14F-4D97-AF65-F5344CB8AC3E}">
        <p14:creationId xmlns:p14="http://schemas.microsoft.com/office/powerpoint/2010/main" val="11548032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8458"/>
          </a:xfrm>
        </p:spPr>
        <p:txBody>
          <a:bodyPr>
            <a:noAutofit/>
          </a:bodyPr>
          <a:lstStyle/>
          <a:p>
            <a:r>
              <a:rPr lang="en-IN" sz="2400" dirty="0">
                <a:solidFill>
                  <a:srgbClr val="0070C0"/>
                </a:solidFill>
              </a:rPr>
              <a:t>Kubernetes Architecture-</a:t>
            </a:r>
            <a:r>
              <a:rPr lang="en-US" sz="2400" dirty="0">
                <a:solidFill>
                  <a:srgbClr val="0070C0"/>
                </a:solidFill>
                <a:cs typeface="Arial" pitchFamily="34" charset="0"/>
              </a:rPr>
              <a:t>Stable Networking with Kubernetes Services</a:t>
            </a:r>
            <a:endParaRPr lang="en-IN" sz="2400" dirty="0"/>
          </a:p>
        </p:txBody>
      </p:sp>
      <p:sp>
        <p:nvSpPr>
          <p:cNvPr id="3" name="Content Placeholder 2"/>
          <p:cNvSpPr>
            <a:spLocks noGrp="1"/>
          </p:cNvSpPr>
          <p:nvPr>
            <p:ph idx="1"/>
          </p:nvPr>
        </p:nvSpPr>
        <p:spPr>
          <a:xfrm>
            <a:off x="298516" y="1246910"/>
            <a:ext cx="8121089" cy="4891608"/>
          </a:xfrm>
        </p:spPr>
        <p:txBody>
          <a:bodyPr/>
          <a:lstStyle/>
          <a:p>
            <a:pPr marL="285750" indent="-285750">
              <a:buFont typeface="Arial" panose="020B0604020202020204" pitchFamily="34" charset="0"/>
              <a:buChar char="•"/>
            </a:pPr>
            <a:endParaRPr lang="en-IN" dirty="0" smtClean="0"/>
          </a:p>
          <a:p>
            <a:pPr marL="285750" indent="-285750">
              <a:lnSpc>
                <a:spcPts val="2300"/>
              </a:lnSpc>
              <a:buFont typeface="Arial" panose="020B0604020202020204" pitchFamily="34" charset="0"/>
              <a:buChar char="•"/>
            </a:pPr>
            <a:r>
              <a:rPr lang="en-IN" sz="2000" dirty="0" smtClean="0"/>
              <a:t>Pods </a:t>
            </a:r>
            <a:r>
              <a:rPr lang="en-IN" sz="2000" dirty="0"/>
              <a:t>are not constant</a:t>
            </a:r>
            <a:r>
              <a:rPr lang="en-IN" sz="2000" dirty="0" smtClean="0"/>
              <a:t>.</a:t>
            </a:r>
          </a:p>
          <a:p>
            <a:pPr marL="285750" indent="-285750">
              <a:lnSpc>
                <a:spcPts val="2300"/>
              </a:lnSpc>
              <a:buFont typeface="Arial" panose="020B0604020202020204" pitchFamily="34" charset="0"/>
              <a:buChar char="•"/>
            </a:pPr>
            <a:r>
              <a:rPr lang="en-IN" sz="2000" dirty="0" smtClean="0"/>
              <a:t>One </a:t>
            </a:r>
            <a:r>
              <a:rPr lang="en-IN" sz="2000" dirty="0"/>
              <a:t>of the best features Kubernetes offers is that non-functioning pods get replaced by new ones automatically</a:t>
            </a:r>
            <a:r>
              <a:rPr lang="en-IN" sz="2000" dirty="0" smtClean="0"/>
              <a:t>.</a:t>
            </a:r>
          </a:p>
          <a:p>
            <a:pPr marL="285750" indent="-285750">
              <a:lnSpc>
                <a:spcPts val="2300"/>
              </a:lnSpc>
              <a:buFont typeface="Arial" panose="020B0604020202020204" pitchFamily="34" charset="0"/>
              <a:buChar char="•"/>
            </a:pPr>
            <a:r>
              <a:rPr lang="en-IN" sz="2000" dirty="0" smtClean="0"/>
              <a:t>However</a:t>
            </a:r>
            <a:r>
              <a:rPr lang="en-IN" sz="2000" dirty="0"/>
              <a:t>, these new pods have a different set of IPs. </a:t>
            </a:r>
            <a:endParaRPr lang="en-IN" sz="2000" dirty="0" smtClean="0"/>
          </a:p>
          <a:p>
            <a:pPr marL="285750" indent="-285750">
              <a:lnSpc>
                <a:spcPts val="2300"/>
              </a:lnSpc>
              <a:buFont typeface="Arial" panose="020B0604020202020204" pitchFamily="34" charset="0"/>
              <a:buChar char="•"/>
            </a:pPr>
            <a:r>
              <a:rPr lang="en-IN" sz="2000" dirty="0" smtClean="0"/>
              <a:t>It </a:t>
            </a:r>
            <a:r>
              <a:rPr lang="en-IN" sz="2000" dirty="0"/>
              <a:t>can lead to processing issues, and IP churn as the IPs no longer match</a:t>
            </a:r>
            <a:r>
              <a:rPr lang="en-IN" sz="2000" dirty="0" smtClean="0"/>
              <a:t>.</a:t>
            </a:r>
          </a:p>
          <a:p>
            <a:pPr marL="342900" indent="-342900">
              <a:lnSpc>
                <a:spcPts val="2300"/>
              </a:lnSpc>
              <a:buFont typeface="Arial" panose="020B0604020202020204" pitchFamily="34" charset="0"/>
              <a:buChar char="•"/>
            </a:pPr>
            <a:r>
              <a:rPr lang="en-IN" sz="2000" dirty="0" smtClean="0"/>
              <a:t>If </a:t>
            </a:r>
            <a:r>
              <a:rPr lang="en-IN" sz="2000" dirty="0"/>
              <a:t>left unattended, this property would make pods highly unreliable.</a:t>
            </a:r>
          </a:p>
          <a:p>
            <a:pPr marL="285750" indent="-285750">
              <a:lnSpc>
                <a:spcPts val="2300"/>
              </a:lnSpc>
              <a:buFont typeface="Arial" panose="020B0604020202020204" pitchFamily="34" charset="0"/>
              <a:buChar char="•"/>
            </a:pPr>
            <a:r>
              <a:rPr lang="en-IN" sz="2000" dirty="0"/>
              <a:t>Services are introduced to provide reliable networking by bringing stable IP addresses and DNS names to the unstable world of pods</a:t>
            </a:r>
            <a:r>
              <a:rPr lang="en-IN" sz="2000" dirty="0" smtClean="0"/>
              <a:t>.</a:t>
            </a:r>
            <a:endParaRPr lang="en-IN" sz="2000" dirty="0"/>
          </a:p>
        </p:txBody>
      </p:sp>
    </p:spTree>
    <p:extLst>
      <p:ext uri="{BB962C8B-B14F-4D97-AF65-F5344CB8AC3E}">
        <p14:creationId xmlns:p14="http://schemas.microsoft.com/office/powerpoint/2010/main" val="18995279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67200"/>
          </a:xfrm>
        </p:spPr>
        <p:txBody>
          <a:bodyPr>
            <a:noAutofit/>
          </a:bodyPr>
          <a:lstStyle/>
          <a:p>
            <a:r>
              <a:rPr lang="en-IN" sz="2400" dirty="0">
                <a:solidFill>
                  <a:srgbClr val="0070C0"/>
                </a:solidFill>
              </a:rPr>
              <a:t>Kubernetes Architecture-</a:t>
            </a:r>
            <a:r>
              <a:rPr lang="en-US" sz="2400" dirty="0">
                <a:solidFill>
                  <a:srgbClr val="0070C0"/>
                </a:solidFill>
                <a:cs typeface="Arial" pitchFamily="34" charset="0"/>
              </a:rPr>
              <a:t>Stable Networking with Kubernetes Services</a:t>
            </a:r>
            <a:endParaRPr lang="en-IN" sz="2400" dirty="0"/>
          </a:p>
        </p:txBody>
      </p:sp>
      <p:sp>
        <p:nvSpPr>
          <p:cNvPr id="3" name="Content Placeholder 2"/>
          <p:cNvSpPr>
            <a:spLocks noGrp="1"/>
          </p:cNvSpPr>
          <p:nvPr>
            <p:ph idx="1"/>
          </p:nvPr>
        </p:nvSpPr>
        <p:spPr>
          <a:xfrm>
            <a:off x="298516" y="1246910"/>
            <a:ext cx="8845484" cy="4891608"/>
          </a:xfrm>
        </p:spPr>
        <p:txBody>
          <a:bodyPr/>
          <a:lstStyle/>
          <a:p>
            <a:endParaRPr lang="en-IN" dirty="0" smtClean="0"/>
          </a:p>
          <a:p>
            <a:endParaRPr lang="en-IN" dirty="0"/>
          </a:p>
          <a:p>
            <a:pPr marL="285750" indent="-285750">
              <a:lnSpc>
                <a:spcPts val="2700"/>
              </a:lnSpc>
              <a:buFont typeface="Arial" panose="020B0604020202020204" pitchFamily="34" charset="0"/>
              <a:buChar char="•"/>
            </a:pPr>
            <a:r>
              <a:rPr lang="en-IN" sz="2000" dirty="0" smtClean="0"/>
              <a:t>By </a:t>
            </a:r>
            <a:r>
              <a:rPr lang="en-IN" sz="2000" dirty="0"/>
              <a:t>controlling traffic coming and going to the pod, a Kubernetes service provides a stable networking endpoint – a fixed IP, DNS, and port. </a:t>
            </a:r>
            <a:endParaRPr lang="en-IN" sz="2000" dirty="0" smtClean="0"/>
          </a:p>
          <a:p>
            <a:pPr marL="285750" indent="-285750">
              <a:lnSpc>
                <a:spcPts val="2700"/>
              </a:lnSpc>
              <a:buFont typeface="Arial" panose="020B0604020202020204" pitchFamily="34" charset="0"/>
              <a:buChar char="•"/>
            </a:pPr>
            <a:r>
              <a:rPr lang="en-IN" sz="2000" dirty="0" smtClean="0"/>
              <a:t>Through </a:t>
            </a:r>
            <a:r>
              <a:rPr lang="en-IN" sz="2000" dirty="0"/>
              <a:t>a service, any pod can be added or removed without the fear that basic network information would change in any way.</a:t>
            </a:r>
          </a:p>
          <a:p>
            <a:pPr>
              <a:lnSpc>
                <a:spcPts val="2700"/>
              </a:lnSpc>
            </a:pPr>
            <a:endParaRPr lang="en-IN" sz="2000" dirty="0"/>
          </a:p>
        </p:txBody>
      </p:sp>
    </p:spTree>
    <p:extLst>
      <p:ext uri="{BB962C8B-B14F-4D97-AF65-F5344CB8AC3E}">
        <p14:creationId xmlns:p14="http://schemas.microsoft.com/office/powerpoint/2010/main" val="33580856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152" y="429658"/>
            <a:ext cx="8780443" cy="385590"/>
          </a:xfrm>
        </p:spPr>
        <p:txBody>
          <a:bodyPr>
            <a:noAutofit/>
          </a:bodyPr>
          <a:lstStyle/>
          <a:p>
            <a:pPr lvl="0"/>
            <a:r>
              <a:rPr lang="en-IN" sz="2400" dirty="0">
                <a:solidFill>
                  <a:srgbClr val="0070C0"/>
                </a:solidFill>
              </a:rPr>
              <a:t>Kubernetes </a:t>
            </a:r>
            <a:r>
              <a:rPr lang="en-IN" sz="2400" dirty="0" smtClean="0">
                <a:solidFill>
                  <a:srgbClr val="0070C0"/>
                </a:solidFill>
              </a:rPr>
              <a:t>Architecture-</a:t>
            </a:r>
            <a:r>
              <a:rPr lang="en-US" sz="2400" dirty="0" smtClean="0">
                <a:solidFill>
                  <a:srgbClr val="0070C0"/>
                </a:solidFill>
                <a:latin typeface="Arial" pitchFamily="34" charset="0"/>
                <a:cs typeface="Arial" pitchFamily="34" charset="0"/>
              </a:rPr>
              <a:t>The </a:t>
            </a:r>
            <a:r>
              <a:rPr lang="en-US" sz="2400" dirty="0">
                <a:solidFill>
                  <a:srgbClr val="0070C0"/>
                </a:solidFill>
                <a:latin typeface="Arial" pitchFamily="34" charset="0"/>
                <a:cs typeface="Arial" pitchFamily="34" charset="0"/>
              </a:rPr>
              <a:t>Kubernetes API and API Server</a:t>
            </a:r>
            <a:endParaRPr lang="en-US" sz="2400" dirty="0">
              <a:solidFill>
                <a:srgbClr val="0070C0"/>
              </a:solidFill>
            </a:endParaRPr>
          </a:p>
        </p:txBody>
      </p:sp>
      <p:sp>
        <p:nvSpPr>
          <p:cNvPr id="3" name="Content Placeholder 2"/>
          <p:cNvSpPr>
            <a:spLocks noGrp="1"/>
          </p:cNvSpPr>
          <p:nvPr>
            <p:ph idx="1"/>
          </p:nvPr>
        </p:nvSpPr>
        <p:spPr>
          <a:xfrm>
            <a:off x="298516" y="1079653"/>
            <a:ext cx="8445119" cy="5288095"/>
          </a:xfrm>
        </p:spPr>
        <p:txBody>
          <a:bodyPr>
            <a:normAutofit/>
          </a:bodyPr>
          <a:lstStyle/>
          <a:p>
            <a:pPr marL="285750" indent="-285750">
              <a:lnSpc>
                <a:spcPts val="2900"/>
              </a:lnSpc>
              <a:buFont typeface="Arial" panose="020B0604020202020204" pitchFamily="34" charset="0"/>
              <a:buChar char="•"/>
            </a:pPr>
            <a:r>
              <a:rPr lang="en-IN" sz="2000" dirty="0" smtClean="0"/>
              <a:t>It is grand central station of Kubernetes.</a:t>
            </a:r>
          </a:p>
          <a:p>
            <a:pPr marL="285750" indent="-285750">
              <a:lnSpc>
                <a:spcPts val="2900"/>
              </a:lnSpc>
              <a:buFont typeface="Arial" panose="020B0604020202020204" pitchFamily="34" charset="0"/>
              <a:buChar char="•"/>
            </a:pPr>
            <a:r>
              <a:rPr lang="en-IN" sz="2000" dirty="0" smtClean="0"/>
              <a:t>All communication between all components should go through the API Server.</a:t>
            </a:r>
            <a:endParaRPr lang="en-IN" sz="2000" dirty="0"/>
          </a:p>
          <a:p>
            <a:pPr marL="285750" indent="-285750">
              <a:lnSpc>
                <a:spcPts val="2900"/>
              </a:lnSpc>
              <a:buFont typeface="Arial" panose="020B0604020202020204" pitchFamily="34" charset="0"/>
              <a:buChar char="•"/>
            </a:pPr>
            <a:r>
              <a:rPr lang="en-IN" sz="2000" dirty="0" smtClean="0"/>
              <a:t>Internal as well as external system components communicate through Same API.</a:t>
            </a:r>
          </a:p>
          <a:p>
            <a:pPr marL="285750" indent="-285750">
              <a:lnSpc>
                <a:spcPts val="2900"/>
              </a:lnSpc>
              <a:buFont typeface="Arial" panose="020B0604020202020204" pitchFamily="34" charset="0"/>
              <a:buChar char="•"/>
            </a:pPr>
            <a:r>
              <a:rPr lang="en-IN" sz="2000" dirty="0" smtClean="0"/>
              <a:t>It exposes the Restful API that post YAML configuration files to over HTTPS.</a:t>
            </a:r>
          </a:p>
          <a:p>
            <a:pPr marL="285750" indent="-285750">
              <a:lnSpc>
                <a:spcPts val="2900"/>
              </a:lnSpc>
              <a:buFont typeface="Arial" panose="020B0604020202020204" pitchFamily="34" charset="0"/>
              <a:buChar char="•"/>
            </a:pPr>
            <a:r>
              <a:rPr lang="en-IN" sz="2000" dirty="0" smtClean="0"/>
              <a:t>This YAML files are also called as </a:t>
            </a:r>
            <a:r>
              <a:rPr lang="en-IN" dirty="0"/>
              <a:t>Manifest</a:t>
            </a:r>
            <a:r>
              <a:rPr lang="en-IN" sz="2000" dirty="0" smtClean="0"/>
              <a:t> file which contains the desire state of the application.</a:t>
            </a:r>
          </a:p>
          <a:p>
            <a:pPr marL="285750" indent="-285750">
              <a:lnSpc>
                <a:spcPts val="2900"/>
              </a:lnSpc>
              <a:buFont typeface="Arial" panose="020B0604020202020204" pitchFamily="34" charset="0"/>
              <a:buChar char="•"/>
            </a:pPr>
            <a:r>
              <a:rPr lang="en-IN" sz="2000" dirty="0">
                <a:cs typeface="Arial" pitchFamily="34" charset="0"/>
              </a:rPr>
              <a:t>The desire state includes  things like which  container image to use, Which ports to expose  and how many PODS replicas to </a:t>
            </a:r>
            <a:r>
              <a:rPr lang="en-IN" sz="2000" dirty="0" smtClean="0">
                <a:cs typeface="Arial" pitchFamily="34" charset="0"/>
              </a:rPr>
              <a:t>run.</a:t>
            </a:r>
            <a:endParaRPr lang="en-IN" sz="2000" dirty="0">
              <a:cs typeface="Arial" pitchFamily="34" charset="0"/>
            </a:endParaRPr>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33669191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75" y="363367"/>
            <a:ext cx="8312649" cy="458370"/>
          </a:xfrm>
        </p:spPr>
        <p:txBody>
          <a:bodyPr/>
          <a:lstStyle/>
          <a:p>
            <a:pPr lvl="0"/>
            <a:r>
              <a:rPr lang="en-IN" sz="2400" dirty="0"/>
              <a:t>Kubernetes </a:t>
            </a:r>
            <a:r>
              <a:rPr lang="en-IN" sz="2400" dirty="0" smtClean="0">
                <a:solidFill>
                  <a:srgbClr val="0070C0"/>
                </a:solidFill>
              </a:rPr>
              <a:t>Architecture-</a:t>
            </a:r>
            <a:r>
              <a:rPr lang="en-US" sz="2400" dirty="0" smtClean="0">
                <a:solidFill>
                  <a:srgbClr val="0070C0"/>
                </a:solidFill>
                <a:cs typeface="Arial" pitchFamily="34" charset="0"/>
              </a:rPr>
              <a:t>Scheduler</a:t>
            </a:r>
            <a:endParaRPr lang="en-US" dirty="0"/>
          </a:p>
        </p:txBody>
      </p:sp>
      <p:graphicFrame>
        <p:nvGraphicFramePr>
          <p:cNvPr id="4" name="Diagram 3"/>
          <p:cNvGraphicFramePr/>
          <p:nvPr>
            <p:extLst>
              <p:ext uri="{D42A27DB-BD31-4B8C-83A1-F6EECF244321}">
                <p14:modId xmlns:p14="http://schemas.microsoft.com/office/powerpoint/2010/main" val="3055926962"/>
              </p:ext>
            </p:extLst>
          </p:nvPr>
        </p:nvGraphicFramePr>
        <p:xfrm>
          <a:off x="1524000" y="958467"/>
          <a:ext cx="6096000" cy="57948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603235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75" y="363367"/>
            <a:ext cx="8312649" cy="458370"/>
          </a:xfrm>
        </p:spPr>
        <p:txBody>
          <a:bodyPr/>
          <a:lstStyle/>
          <a:p>
            <a:pPr lvl="0"/>
            <a:r>
              <a:rPr lang="en-IN" sz="2400" dirty="0"/>
              <a:t>Kubernetes </a:t>
            </a:r>
            <a:r>
              <a:rPr lang="en-IN" sz="2400" dirty="0" smtClean="0">
                <a:solidFill>
                  <a:srgbClr val="0070C0"/>
                </a:solidFill>
              </a:rPr>
              <a:t>Architecture-</a:t>
            </a:r>
            <a:r>
              <a:rPr lang="en-US" sz="2400" dirty="0" smtClean="0">
                <a:solidFill>
                  <a:srgbClr val="0070C0"/>
                </a:solidFill>
                <a:cs typeface="Arial" pitchFamily="34" charset="0"/>
              </a:rPr>
              <a:t>Controller Manager</a:t>
            </a:r>
            <a:endParaRPr lang="en-US" dirty="0"/>
          </a:p>
        </p:txBody>
      </p:sp>
      <p:graphicFrame>
        <p:nvGraphicFramePr>
          <p:cNvPr id="4" name="Diagram 3"/>
          <p:cNvGraphicFramePr/>
          <p:nvPr>
            <p:extLst>
              <p:ext uri="{D42A27DB-BD31-4B8C-83A1-F6EECF244321}">
                <p14:modId xmlns:p14="http://schemas.microsoft.com/office/powerpoint/2010/main" val="3341184359"/>
              </p:ext>
            </p:extLst>
          </p:nvPr>
        </p:nvGraphicFramePr>
        <p:xfrm>
          <a:off x="1336713" y="1641513"/>
          <a:ext cx="6096000" cy="3922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45819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152" y="429658"/>
            <a:ext cx="8780443" cy="385590"/>
          </a:xfrm>
        </p:spPr>
        <p:txBody>
          <a:bodyPr>
            <a:noAutofit/>
          </a:bodyPr>
          <a:lstStyle/>
          <a:p>
            <a:pPr lvl="0"/>
            <a:r>
              <a:rPr lang="en-IN" sz="2400" dirty="0">
                <a:solidFill>
                  <a:srgbClr val="0070C0"/>
                </a:solidFill>
              </a:rPr>
              <a:t>Kubernetes </a:t>
            </a:r>
            <a:r>
              <a:rPr lang="en-IN" sz="2400" dirty="0" smtClean="0">
                <a:solidFill>
                  <a:srgbClr val="0070C0"/>
                </a:solidFill>
              </a:rPr>
              <a:t>Architecture-</a:t>
            </a:r>
            <a:r>
              <a:rPr lang="en-US" sz="2400" dirty="0" smtClean="0">
                <a:solidFill>
                  <a:srgbClr val="0070C0"/>
                </a:solidFill>
                <a:latin typeface="Arial" pitchFamily="34" charset="0"/>
                <a:cs typeface="Arial" pitchFamily="34" charset="0"/>
              </a:rPr>
              <a:t>etcd</a:t>
            </a:r>
            <a:endParaRPr lang="en-US" sz="2400" dirty="0">
              <a:solidFill>
                <a:srgbClr val="0070C0"/>
              </a:solidFill>
            </a:endParaRPr>
          </a:p>
        </p:txBody>
      </p:sp>
      <p:sp>
        <p:nvSpPr>
          <p:cNvPr id="3" name="Content Placeholder 2"/>
          <p:cNvSpPr>
            <a:spLocks noGrp="1"/>
          </p:cNvSpPr>
          <p:nvPr>
            <p:ph idx="1"/>
          </p:nvPr>
        </p:nvSpPr>
        <p:spPr>
          <a:xfrm>
            <a:off x="298516" y="1079653"/>
            <a:ext cx="8445119" cy="5288095"/>
          </a:xfrm>
        </p:spPr>
        <p:txBody>
          <a:bodyPr>
            <a:normAutofit/>
          </a:bodyPr>
          <a:lstStyle/>
          <a:p>
            <a:pPr>
              <a:lnSpc>
                <a:spcPct val="200000"/>
              </a:lnSpc>
            </a:pPr>
            <a:r>
              <a:rPr lang="en-IN" sz="2000" b="1" dirty="0">
                <a:latin typeface="Arial" pitchFamily="34" charset="0"/>
                <a:cs typeface="Arial" pitchFamily="34" charset="0"/>
              </a:rPr>
              <a:t>Key-Value Store (etcd)</a:t>
            </a:r>
          </a:p>
          <a:p>
            <a:pPr>
              <a:lnSpc>
                <a:spcPct val="200000"/>
              </a:lnSpc>
            </a:pPr>
            <a:r>
              <a:rPr lang="en-IN" sz="2000" dirty="0" smtClean="0">
                <a:latin typeface="Arial" pitchFamily="34" charset="0"/>
                <a:cs typeface="Arial" pitchFamily="34" charset="0"/>
              </a:rPr>
              <a:t>- The </a:t>
            </a:r>
            <a:r>
              <a:rPr lang="en-IN" sz="2000" dirty="0">
                <a:latin typeface="Arial" pitchFamily="34" charset="0"/>
                <a:cs typeface="Arial" pitchFamily="34" charset="0"/>
              </a:rPr>
              <a:t>Key-Value Store, also called </a:t>
            </a:r>
            <a:r>
              <a:rPr lang="en-IN" sz="2000" b="1" dirty="0" smtClean="0">
                <a:latin typeface="Arial" pitchFamily="34" charset="0"/>
                <a:cs typeface="Arial" pitchFamily="34" charset="0"/>
              </a:rPr>
              <a:t>etcd</a:t>
            </a:r>
            <a:r>
              <a:rPr lang="en-IN" sz="2000" dirty="0" smtClean="0">
                <a:latin typeface="Arial" pitchFamily="34" charset="0"/>
                <a:cs typeface="Arial" pitchFamily="34" charset="0"/>
              </a:rPr>
              <a:t>.</a:t>
            </a:r>
          </a:p>
          <a:p>
            <a:pPr>
              <a:lnSpc>
                <a:spcPct val="200000"/>
              </a:lnSpc>
            </a:pPr>
            <a:r>
              <a:rPr lang="en-IN" sz="2000" dirty="0" smtClean="0">
                <a:latin typeface="Arial" pitchFamily="34" charset="0"/>
                <a:cs typeface="Arial" pitchFamily="34" charset="0"/>
              </a:rPr>
              <a:t>- It </a:t>
            </a:r>
            <a:r>
              <a:rPr lang="en-IN" sz="2000" dirty="0">
                <a:latin typeface="Arial" pitchFamily="34" charset="0"/>
                <a:cs typeface="Arial" pitchFamily="34" charset="0"/>
              </a:rPr>
              <a:t>is a database Kubernetes uses to back-up all cluster data</a:t>
            </a:r>
            <a:r>
              <a:rPr lang="en-IN" sz="2000" dirty="0" smtClean="0">
                <a:latin typeface="Arial" pitchFamily="34" charset="0"/>
                <a:cs typeface="Arial" pitchFamily="34" charset="0"/>
              </a:rPr>
              <a:t>.</a:t>
            </a:r>
          </a:p>
          <a:p>
            <a:pPr>
              <a:lnSpc>
                <a:spcPct val="200000"/>
              </a:lnSpc>
            </a:pPr>
            <a:r>
              <a:rPr lang="en-IN" sz="2000" dirty="0" smtClean="0">
                <a:latin typeface="Arial" pitchFamily="34" charset="0"/>
                <a:cs typeface="Arial" pitchFamily="34" charset="0"/>
              </a:rPr>
              <a:t>- It </a:t>
            </a:r>
            <a:r>
              <a:rPr lang="en-IN" sz="2000" dirty="0">
                <a:latin typeface="Arial" pitchFamily="34" charset="0"/>
                <a:cs typeface="Arial" pitchFamily="34" charset="0"/>
              </a:rPr>
              <a:t>stores the entire configuration and state of the cluster. </a:t>
            </a:r>
            <a:endParaRPr lang="en-IN" sz="2000" dirty="0" smtClean="0">
              <a:latin typeface="Arial" pitchFamily="34" charset="0"/>
              <a:cs typeface="Arial" pitchFamily="34" charset="0"/>
            </a:endParaRPr>
          </a:p>
          <a:p>
            <a:pPr>
              <a:lnSpc>
                <a:spcPct val="200000"/>
              </a:lnSpc>
            </a:pPr>
            <a:r>
              <a:rPr lang="en-IN" sz="2000" dirty="0" smtClean="0">
                <a:latin typeface="Arial" pitchFamily="34" charset="0"/>
                <a:cs typeface="Arial" pitchFamily="34" charset="0"/>
              </a:rPr>
              <a:t>- The </a:t>
            </a:r>
            <a:r>
              <a:rPr lang="en-IN" sz="2000" dirty="0">
                <a:latin typeface="Arial" pitchFamily="34" charset="0"/>
                <a:cs typeface="Arial" pitchFamily="34" charset="0"/>
              </a:rPr>
              <a:t>Master node queries </a:t>
            </a:r>
            <a:r>
              <a:rPr lang="en-IN" sz="2000" b="1" dirty="0">
                <a:latin typeface="Arial" pitchFamily="34" charset="0"/>
                <a:cs typeface="Arial" pitchFamily="34" charset="0"/>
              </a:rPr>
              <a:t>etcd</a:t>
            </a:r>
            <a:r>
              <a:rPr lang="en-IN" sz="2000" dirty="0">
                <a:latin typeface="Arial" pitchFamily="34" charset="0"/>
                <a:cs typeface="Arial" pitchFamily="34" charset="0"/>
              </a:rPr>
              <a:t> to retrieve parameters for the state of the nodes, pods, and containers.</a:t>
            </a:r>
          </a:p>
          <a:p>
            <a:pPr>
              <a:lnSpc>
                <a:spcPct val="200000"/>
              </a:lnSpc>
            </a:pPr>
            <a:r>
              <a:rPr lang="en-IN" sz="2000" b="1" dirty="0">
                <a:latin typeface="Arial" pitchFamily="34" charset="0"/>
                <a:cs typeface="Arial" pitchFamily="34" charset="0"/>
              </a:rPr>
              <a:t>	</a:t>
            </a:r>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18476166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smtClean="0"/>
              <a:t>Kubernetes Architecture</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97334492"/>
              </p:ext>
            </p:extLst>
          </p:nvPr>
        </p:nvGraphicFramePr>
        <p:xfrm>
          <a:off x="220312" y="1277988"/>
          <a:ext cx="6794500" cy="39976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2636128"/>
              </p:ext>
            </p:extLst>
          </p:nvPr>
        </p:nvGraphicFramePr>
        <p:xfrm>
          <a:off x="170885" y="1044586"/>
          <a:ext cx="6575904" cy="44294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47027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50228"/>
          </a:xfrm>
        </p:spPr>
        <p:txBody>
          <a:bodyPr>
            <a:normAutofit fontScale="90000"/>
          </a:bodyPr>
          <a:lstStyle/>
          <a:p>
            <a:r>
              <a:rPr lang="en-IN" dirty="0" smtClean="0"/>
              <a:t>Kubernetes Architecture-</a:t>
            </a:r>
            <a:r>
              <a:rPr lang="en-US" dirty="0">
                <a:latin typeface="+mj-lt"/>
                <a:cs typeface="Arial" pitchFamily="34" charset="0"/>
              </a:rPr>
              <a:t>Kubernetes Big Picture View</a:t>
            </a:r>
            <a:r>
              <a:rPr lang="en-US" dirty="0"/>
              <a:t/>
            </a:r>
            <a:br>
              <a:rPr lang="en-US" dirty="0"/>
            </a:br>
            <a:endParaRPr lang="en-IN" dirty="0"/>
          </a:p>
        </p:txBody>
      </p:sp>
      <p:pic>
        <p:nvPicPr>
          <p:cNvPr id="4" name="Picture 3"/>
          <p:cNvPicPr>
            <a:picLocks noChangeAspect="1"/>
          </p:cNvPicPr>
          <p:nvPr/>
        </p:nvPicPr>
        <p:blipFill>
          <a:blip r:embed="rId3"/>
          <a:stretch>
            <a:fillRect/>
          </a:stretch>
        </p:blipFill>
        <p:spPr>
          <a:xfrm>
            <a:off x="672029" y="991517"/>
            <a:ext cx="7634690" cy="5342607"/>
          </a:xfrm>
          <a:prstGeom prst="rect">
            <a:avLst/>
          </a:prstGeom>
        </p:spPr>
      </p:pic>
    </p:spTree>
    <p:extLst>
      <p:ext uri="{BB962C8B-B14F-4D97-AF65-F5344CB8AC3E}">
        <p14:creationId xmlns:p14="http://schemas.microsoft.com/office/powerpoint/2010/main" val="12536905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450" y="253389"/>
            <a:ext cx="8312649" cy="815860"/>
          </a:xfrm>
        </p:spPr>
        <p:txBody>
          <a:bodyPr>
            <a:normAutofit fontScale="90000"/>
          </a:bodyPr>
          <a:lstStyle/>
          <a:p>
            <a:r>
              <a:rPr lang="en-IN" sz="2700" dirty="0"/>
              <a:t>Kubernetes Architecture-</a:t>
            </a:r>
            <a:r>
              <a:rPr lang="en-US" sz="2700" dirty="0">
                <a:cs typeface="Arial" pitchFamily="34" charset="0"/>
              </a:rPr>
              <a:t>Kubernetes Big Picture </a:t>
            </a:r>
            <a:r>
              <a:rPr lang="en-US" sz="2700" dirty="0" smtClean="0">
                <a:cs typeface="Arial" pitchFamily="34" charset="0"/>
              </a:rPr>
              <a:t>View-</a:t>
            </a:r>
            <a:r>
              <a:rPr lang="en-IN" sz="2700" dirty="0"/>
              <a:t>Control Plane Components</a:t>
            </a:r>
            <a:r>
              <a:rPr lang="en-IN" sz="2700" dirty="0">
                <a:hlinkClick r:id="rId3"/>
              </a:rPr>
              <a:t> </a:t>
            </a:r>
            <a:r>
              <a:rPr lang="en-IN" dirty="0"/>
              <a:t/>
            </a:r>
            <a:br>
              <a:rPr lang="en-IN" dirty="0"/>
            </a:br>
            <a:r>
              <a:rPr lang="en-US" dirty="0"/>
              <a:t/>
            </a:r>
            <a:br>
              <a:rPr lang="en-US" dirty="0"/>
            </a:br>
            <a:endParaRPr lang="en-IN" dirty="0"/>
          </a:p>
        </p:txBody>
      </p:sp>
      <p:graphicFrame>
        <p:nvGraphicFramePr>
          <p:cNvPr id="4" name="Content Placeholder 3"/>
          <p:cNvGraphicFramePr>
            <a:graphicFrameLocks noGrp="1"/>
          </p:cNvGraphicFramePr>
          <p:nvPr>
            <p:ph idx="1"/>
          </p:nvPr>
        </p:nvGraphicFramePr>
        <p:xfrm>
          <a:off x="298450" y="1168400"/>
          <a:ext cx="8323263" cy="49704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83475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50228"/>
          </a:xfrm>
        </p:spPr>
        <p:txBody>
          <a:bodyPr>
            <a:normAutofit fontScale="90000"/>
          </a:bodyPr>
          <a:lstStyle/>
          <a:p>
            <a:r>
              <a:rPr lang="en-IN" dirty="0" smtClean="0"/>
              <a:t>Kubernetes Architecture-</a:t>
            </a:r>
            <a:r>
              <a:rPr lang="en-US" dirty="0">
                <a:latin typeface="+mj-lt"/>
                <a:cs typeface="Arial" pitchFamily="34" charset="0"/>
              </a:rPr>
              <a:t>Kubernetes Big Picture View</a:t>
            </a:r>
            <a:r>
              <a:rPr lang="en-US" dirty="0"/>
              <a:t/>
            </a:r>
            <a:br>
              <a:rPr lang="en-US" dirty="0"/>
            </a:br>
            <a:endParaRPr lang="en-IN" dirty="0"/>
          </a:p>
        </p:txBody>
      </p:sp>
      <p:pic>
        <p:nvPicPr>
          <p:cNvPr id="3" name="Picture 2"/>
          <p:cNvPicPr>
            <a:picLocks noChangeAspect="1"/>
          </p:cNvPicPr>
          <p:nvPr/>
        </p:nvPicPr>
        <p:blipFill>
          <a:blip r:embed="rId3"/>
          <a:stretch>
            <a:fillRect/>
          </a:stretch>
        </p:blipFill>
        <p:spPr>
          <a:xfrm>
            <a:off x="617837" y="868680"/>
            <a:ext cx="8004613" cy="5759149"/>
          </a:xfrm>
          <a:prstGeom prst="rect">
            <a:avLst/>
          </a:prstGeom>
        </p:spPr>
      </p:pic>
    </p:spTree>
    <p:extLst>
      <p:ext uri="{BB962C8B-B14F-4D97-AF65-F5344CB8AC3E}">
        <p14:creationId xmlns:p14="http://schemas.microsoft.com/office/powerpoint/2010/main" val="33791501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7706735" cy="450228"/>
          </a:xfrm>
        </p:spPr>
        <p:txBody>
          <a:bodyPr>
            <a:normAutofit fontScale="90000"/>
          </a:bodyPr>
          <a:lstStyle/>
          <a:p>
            <a:r>
              <a:rPr lang="en-IN" dirty="0" smtClean="0">
                <a:latin typeface="+mn-lt"/>
              </a:rPr>
              <a:t>Kubernetes </a:t>
            </a:r>
            <a:r>
              <a:rPr lang="en-IN" dirty="0" smtClean="0">
                <a:solidFill>
                  <a:srgbClr val="0070C0"/>
                </a:solidFill>
                <a:latin typeface="+mn-lt"/>
              </a:rPr>
              <a:t>Architecture-</a:t>
            </a:r>
            <a:r>
              <a:rPr lang="en-US" dirty="0">
                <a:solidFill>
                  <a:srgbClr val="0070C0"/>
                </a:solidFill>
                <a:latin typeface="+mn-lt"/>
                <a:cs typeface="Arial" pitchFamily="34" charset="0"/>
              </a:rPr>
              <a:t>Kubernetes Masters</a:t>
            </a:r>
            <a:r>
              <a:rPr lang="en-US" dirty="0"/>
              <a:t/>
            </a:r>
            <a:br>
              <a:rPr lang="en-US" dirty="0"/>
            </a:br>
            <a:endParaRPr lang="en-IN" dirty="0"/>
          </a:p>
        </p:txBody>
      </p:sp>
      <p:pic>
        <p:nvPicPr>
          <p:cNvPr id="4" name="Picture 3"/>
          <p:cNvPicPr>
            <a:picLocks noChangeAspect="1"/>
          </p:cNvPicPr>
          <p:nvPr/>
        </p:nvPicPr>
        <p:blipFill>
          <a:blip r:embed="rId3"/>
          <a:stretch>
            <a:fillRect/>
          </a:stretch>
        </p:blipFill>
        <p:spPr>
          <a:xfrm>
            <a:off x="309801" y="1062989"/>
            <a:ext cx="8081010" cy="5269231"/>
          </a:xfrm>
          <a:prstGeom prst="rect">
            <a:avLst/>
          </a:prstGeom>
        </p:spPr>
      </p:pic>
    </p:spTree>
    <p:extLst>
      <p:ext uri="{BB962C8B-B14F-4D97-AF65-F5344CB8AC3E}">
        <p14:creationId xmlns:p14="http://schemas.microsoft.com/office/powerpoint/2010/main" val="1807987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58370"/>
          </a:xfrm>
        </p:spPr>
        <p:txBody>
          <a:bodyPr/>
          <a:lstStyle/>
          <a:p>
            <a:pPr lvl="0"/>
            <a:r>
              <a:rPr lang="en-IN" sz="2400" dirty="0"/>
              <a:t>Kubernetes </a:t>
            </a:r>
            <a:r>
              <a:rPr lang="en-IN" sz="2400" dirty="0">
                <a:solidFill>
                  <a:srgbClr val="0070C0"/>
                </a:solidFill>
              </a:rPr>
              <a:t>Architecture-</a:t>
            </a:r>
            <a:r>
              <a:rPr lang="en-US" sz="2400" dirty="0">
                <a:solidFill>
                  <a:srgbClr val="0070C0"/>
                </a:solidFill>
                <a:cs typeface="Arial" pitchFamily="34" charset="0"/>
              </a:rPr>
              <a:t>Kubernetes Masters</a:t>
            </a:r>
            <a:endParaRPr lang="en-US" dirty="0"/>
          </a:p>
        </p:txBody>
      </p:sp>
      <p:pic>
        <p:nvPicPr>
          <p:cNvPr id="5" name="Picture 4"/>
          <p:cNvPicPr>
            <a:picLocks noChangeAspect="1"/>
          </p:cNvPicPr>
          <p:nvPr/>
        </p:nvPicPr>
        <p:blipFill>
          <a:blip r:embed="rId3"/>
          <a:stretch>
            <a:fillRect/>
          </a:stretch>
        </p:blipFill>
        <p:spPr>
          <a:xfrm>
            <a:off x="209550" y="967666"/>
            <a:ext cx="8724900" cy="5909384"/>
          </a:xfrm>
          <a:prstGeom prst="rect">
            <a:avLst/>
          </a:prstGeom>
        </p:spPr>
      </p:pic>
    </p:spTree>
    <p:extLst>
      <p:ext uri="{BB962C8B-B14F-4D97-AF65-F5344CB8AC3E}">
        <p14:creationId xmlns:p14="http://schemas.microsoft.com/office/powerpoint/2010/main" val="37183566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354632"/>
          </a:xfrm>
        </p:spPr>
        <p:txBody>
          <a:bodyPr/>
          <a:lstStyle/>
          <a:p>
            <a:r>
              <a:rPr lang="en-IN" dirty="0"/>
              <a:t>Kubernetes </a:t>
            </a:r>
            <a:r>
              <a:rPr lang="en-IN" dirty="0">
                <a:solidFill>
                  <a:srgbClr val="0070C0"/>
                </a:solidFill>
              </a:rPr>
              <a:t>Architecture-</a:t>
            </a:r>
            <a:r>
              <a:rPr lang="en-US" dirty="0">
                <a:solidFill>
                  <a:srgbClr val="0070C0"/>
                </a:solidFill>
                <a:cs typeface="Arial" pitchFamily="34" charset="0"/>
              </a:rPr>
              <a:t>Kubernetes </a:t>
            </a:r>
            <a:r>
              <a:rPr lang="en-US" dirty="0" smtClean="0">
                <a:solidFill>
                  <a:srgbClr val="0070C0"/>
                </a:solidFill>
                <a:cs typeface="Arial" pitchFamily="34" charset="0"/>
              </a:rPr>
              <a:t>Nodes</a:t>
            </a:r>
            <a:endParaRPr lang="en-IN" dirty="0"/>
          </a:p>
        </p:txBody>
      </p:sp>
      <p:pic>
        <p:nvPicPr>
          <p:cNvPr id="3" name="Picture 2"/>
          <p:cNvPicPr>
            <a:picLocks noChangeAspect="1"/>
          </p:cNvPicPr>
          <p:nvPr/>
        </p:nvPicPr>
        <p:blipFill>
          <a:blip r:embed="rId3"/>
          <a:stretch>
            <a:fillRect/>
          </a:stretch>
        </p:blipFill>
        <p:spPr>
          <a:xfrm>
            <a:off x="444843" y="1198605"/>
            <a:ext cx="8484844" cy="4917990"/>
          </a:xfrm>
          <a:prstGeom prst="rect">
            <a:avLst/>
          </a:prstGeom>
        </p:spPr>
      </p:pic>
    </p:spTree>
    <p:extLst>
      <p:ext uri="{BB962C8B-B14F-4D97-AF65-F5344CB8AC3E}">
        <p14:creationId xmlns:p14="http://schemas.microsoft.com/office/powerpoint/2010/main" val="29951351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B5B4400D-8343-4EE1-9B5C-40ACA5400432}"/>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4224</TotalTime>
  <Words>2926</Words>
  <Application>Microsoft Office PowerPoint</Application>
  <PresentationFormat>On-screen Show (4:3)</PresentationFormat>
  <Paragraphs>208</Paragraphs>
  <Slides>19</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Verdana</vt:lpstr>
      <vt:lpstr>Wingdings</vt:lpstr>
      <vt:lpstr>Section slides</vt:lpstr>
      <vt:lpstr>think-cell Slide</vt:lpstr>
      <vt:lpstr>PowerPoint Presentation</vt:lpstr>
      <vt:lpstr>Lesson Objectives</vt:lpstr>
      <vt:lpstr>Lesson Objectives</vt:lpstr>
      <vt:lpstr>Kubernetes Architecture-Kubernetes Big Picture View </vt:lpstr>
      <vt:lpstr>Kubernetes Architecture-Kubernetes Big Picture View-Control Plane Components   </vt:lpstr>
      <vt:lpstr>Kubernetes Architecture-Kubernetes Big Picture View </vt:lpstr>
      <vt:lpstr>Kubernetes Architecture-Kubernetes Masters </vt:lpstr>
      <vt:lpstr>Kubernetes Architecture-Kubernetes Masters</vt:lpstr>
      <vt:lpstr>Kubernetes Architecture-Kubernetes Nodes</vt:lpstr>
      <vt:lpstr>Kubernetes Architecture-Kubernetes Nodes</vt:lpstr>
      <vt:lpstr>Kubernetes Architecture-The Declarative Model and Desired State</vt:lpstr>
      <vt:lpstr>Kubernetes Architecture-Kubernetes PODS</vt:lpstr>
      <vt:lpstr>Kubernetes Architecture-Stable Networking with Kubernetes Services</vt:lpstr>
      <vt:lpstr>Kubernetes Architecture-Stable Networking with Kubernetes Services</vt:lpstr>
      <vt:lpstr>Kubernetes Architecture-The Kubernetes API and API Server</vt:lpstr>
      <vt:lpstr>Kubernetes Architecture-Scheduler</vt:lpstr>
      <vt:lpstr>Kubernetes Architecture-Controller Manager</vt:lpstr>
      <vt:lpstr>Kubernetes Architecture-etcd</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381</cp:revision>
  <dcterms:created xsi:type="dcterms:W3CDTF">2012-05-18T02:59:15Z</dcterms:created>
  <dcterms:modified xsi:type="dcterms:W3CDTF">2021-03-07T12: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